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38"/>
  </p:notesMasterIdLst>
  <p:sldIdLst>
    <p:sldId id="262" r:id="rId5"/>
    <p:sldId id="328" r:id="rId6"/>
    <p:sldId id="363" r:id="rId7"/>
    <p:sldId id="364" r:id="rId8"/>
    <p:sldId id="345" r:id="rId9"/>
    <p:sldId id="346" r:id="rId10"/>
    <p:sldId id="347" r:id="rId11"/>
    <p:sldId id="350" r:id="rId12"/>
    <p:sldId id="344" r:id="rId13"/>
    <p:sldId id="348" r:id="rId14"/>
    <p:sldId id="351" r:id="rId15"/>
    <p:sldId id="352" r:id="rId16"/>
    <p:sldId id="353" r:id="rId17"/>
    <p:sldId id="355" r:id="rId18"/>
    <p:sldId id="371" r:id="rId19"/>
    <p:sldId id="356" r:id="rId20"/>
    <p:sldId id="357" r:id="rId21"/>
    <p:sldId id="358" r:id="rId22"/>
    <p:sldId id="359" r:id="rId23"/>
    <p:sldId id="360" r:id="rId24"/>
    <p:sldId id="361" r:id="rId25"/>
    <p:sldId id="362" r:id="rId26"/>
    <p:sldId id="365" r:id="rId27"/>
    <p:sldId id="366" r:id="rId28"/>
    <p:sldId id="367" r:id="rId29"/>
    <p:sldId id="368" r:id="rId30"/>
    <p:sldId id="369" r:id="rId31"/>
    <p:sldId id="370" r:id="rId32"/>
    <p:sldId id="354" r:id="rId33"/>
    <p:sldId id="342" r:id="rId34"/>
    <p:sldId id="340" r:id="rId35"/>
    <p:sldId id="343" r:id="rId36"/>
    <p:sldId id="341" r:id="rId37"/>
  </p:sldIdLst>
  <p:sldSz cx="9906000" cy="6858000" type="A4"/>
  <p:notesSz cx="6797675" cy="9926638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60100" autoAdjust="0"/>
  </p:normalViewPr>
  <p:slideViewPr>
    <p:cSldViewPr snapToGrid="0" snapToObjects="1">
      <p:cViewPr>
        <p:scale>
          <a:sx n="90" d="100"/>
          <a:sy n="90" d="100"/>
        </p:scale>
        <p:origin x="1976" y="144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locity (cm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.52</c:v>
                </c:pt>
                <c:pt idx="1">
                  <c:v>24.59</c:v>
                </c:pt>
                <c:pt idx="2">
                  <c:v>27.97</c:v>
                </c:pt>
                <c:pt idx="3">
                  <c:v>2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FD-49B9-A2DD-B8A412D35D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% Impro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θ_0</c:v>
                </c:pt>
                <c:pt idx="1">
                  <c:v>GUIDED GSL</c:v>
                </c:pt>
                <c:pt idx="2">
                  <c:v>GAT SimSpark</c:v>
                </c:pt>
                <c:pt idx="3">
                  <c:v>GAT Gazebo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</c:v>
                </c:pt>
                <c:pt idx="1">
                  <c:v>25.9733606557377</c:v>
                </c:pt>
                <c:pt idx="2">
                  <c:v>43.288934426229496</c:v>
                </c:pt>
                <c:pt idx="3">
                  <c:v>37.756147540983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D-49B9-A2DD-B8A412D35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393887"/>
        <c:axId val="171412127"/>
      </c:barChart>
      <c:catAx>
        <c:axId val="17139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412127"/>
        <c:crosses val="autoZero"/>
        <c:auto val="1"/>
        <c:lblAlgn val="ctr"/>
        <c:lblOffset val="100"/>
        <c:noMultiLvlLbl val="0"/>
      </c:catAx>
      <c:valAx>
        <c:axId val="17141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LID4096"/>
          </a:p>
        </c:txPr>
        <c:crossAx val="17139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03.06.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apt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asures how easily a method can adjust to real-world condi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it can quickly incorporate real feedback or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fixed during training or not reactive to deployment errors.</a:t>
            </a:r>
          </a:p>
          <a:p>
            <a:r>
              <a:rPr lang="en-US" b="1" dirty="0"/>
              <a:t>Genera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flects how well a method performs in unseen or varied real-world scenar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if trained with diverse inputs or robust featur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w if tightly coupled to specific dynamics or environ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Sensor Noise Mod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an model realistic noise patterns without real data, making it flexible for many scenario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he quality of Sensor Noise Modeling depends on user sele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★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ntroduces plausible variability in sensor data, enabling robust transfer across different sensor qualities.</a:t>
            </a:r>
          </a:p>
          <a:p>
            <a:endParaRPr lang="en-US" b="1" dirty="0"/>
          </a:p>
          <a:p>
            <a:r>
              <a:rPr lang="en-US" b="1" dirty="0"/>
              <a:t>Domain Random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o use of real data; cannot correct for unseen real-world deviations post-training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Is good, if the real data are in the distribution and low vari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★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ins across a wide range of randomized parameters, leading to high robustness to unseen environments.</a:t>
            </a:r>
          </a:p>
          <a:p>
            <a:endParaRPr lang="en-US" b="1" dirty="0"/>
          </a:p>
          <a:p>
            <a:r>
              <a:rPr lang="en-US" b="1" dirty="0"/>
              <a:t>Domain Adap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aptability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an adapt using unlabeled real-world data, improving performance without supervision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t just works with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Generalization: ★★★★☆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earns to align simulated and real distributions, but effectiveness may depend on data similarity and domain gap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le: not seen, not adap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6780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Baseline sim</a:t>
            </a:r>
            <a:r>
              <a:rPr lang="en-US" dirty="0"/>
              <a:t>: no </a:t>
            </a:r>
            <a:r>
              <a:rPr lang="en-US" dirty="0" err="1"/>
              <a:t>actuactor</a:t>
            </a:r>
            <a:r>
              <a:rPr lang="en-US" dirty="0"/>
              <a:t> model and latency handling</a:t>
            </a:r>
          </a:p>
          <a:p>
            <a:endParaRPr lang="en-US" dirty="0"/>
          </a:p>
          <a:p>
            <a:r>
              <a:rPr lang="en-US" b="1" dirty="0"/>
              <a:t>Baseline sim perturbation</a:t>
            </a:r>
            <a:r>
              <a:rPr lang="en-US" dirty="0"/>
              <a:t>: random perturbation (</a:t>
            </a:r>
            <a:r>
              <a:rPr lang="en-US" dirty="0" err="1"/>
              <a:t>Störungeinflüsse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b="1" dirty="0"/>
              <a:t>Our method</a:t>
            </a:r>
            <a:r>
              <a:rPr lang="en-US" dirty="0"/>
              <a:t>: actuator model, latency handling, random perturb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46502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 Compare to hyperparameter tuning</a:t>
            </a:r>
          </a:p>
          <a:p>
            <a:r>
              <a:rPr lang="en-US" dirty="0"/>
              <a:t>Problem: changes in the simulator, expert knowledge, flexible just on parametric level, doesn’t work with all simulator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750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5FE97-D1A6-EA68-5F86-797602662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213A6-F15F-4DE6-E9C8-AACA6C2B2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A28513-DFE8-08F3-5BC0-53B3A27C66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GSL the parameters in the policy are changed after real-world feedback.</a:t>
            </a:r>
          </a:p>
          <a:p>
            <a:r>
              <a:rPr lang="en-US" dirty="0"/>
              <a:t>Problem: changeable parameters (not everything is changeable), GSL needs expert knowledge, GAT is data-driven, GAT is lightweight, no change of the simulato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isadvantages of GAT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 all (</a:t>
            </a:r>
            <a:r>
              <a:rPr lang="en-US" dirty="0" err="1"/>
              <a:t>s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, s_t+1) observed in the real world, there exist a </a:t>
            </a:r>
            <a:r>
              <a:rPr lang="en-US" dirty="0" err="1"/>
              <a:t>a</a:t>
            </a:r>
            <a:r>
              <a:rPr lang="en-US" dirty="0"/>
              <a:t> transformed function </a:t>
            </a:r>
            <a:r>
              <a:rPr lang="en-US" dirty="0" err="1"/>
              <a:t>à_t</a:t>
            </a:r>
            <a:r>
              <a:rPr lang="en-US" dirty="0"/>
              <a:t> that produces s_t+1 in the simulator: e.g. contact dynamics or unmodeled environmental influences, non-linear systems with delays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training data comes from the trajectory distribution of θ₀, the model just learn actions and states, that occur frequently in </a:t>
            </a:r>
            <a:r>
              <a:rPr lang="el-GR" dirty="0"/>
              <a:t>θ₀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sees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en-US" dirty="0"/>
              <a:t>lie outside the training distribution of f and f-¹ₛᵢₘ.</a:t>
            </a:r>
          </a:p>
          <a:p>
            <a:pPr marL="171450" indent="-171450">
              <a:buFontTx/>
              <a:buChar char="-"/>
            </a:pPr>
            <a:r>
              <a:rPr lang="en-US" dirty="0"/>
              <a:t>Solution: Dataset Aggregation (</a:t>
            </a:r>
            <a:r>
              <a:rPr lang="en-US" dirty="0" err="1"/>
              <a:t>DAgger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just fits the actions not the observat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GAT does not take explicit latencies into account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Conclusion:</a:t>
            </a:r>
          </a:p>
          <a:p>
            <a:pPr marL="171450" indent="-171450">
              <a:buFontTx/>
              <a:buChar char="-"/>
            </a:pPr>
            <a:r>
              <a:rPr lang="en-US" dirty="0"/>
              <a:t>Currently not used in produc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sible usable in security critic domain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Whats</a:t>
            </a:r>
            <a:r>
              <a:rPr lang="en-US" dirty="0"/>
              <a:t> missing for production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nline-adaptatio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Observation-grounding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erformance guarantees</a:t>
            </a:r>
          </a:p>
          <a:p>
            <a:pPr marL="171450" lvl="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87071-E88F-B075-AC5E-2756D74A35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800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076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ition from domain randomization</a:t>
            </a:r>
          </a:p>
          <a:p>
            <a:r>
              <a:rPr lang="en-US" dirty="0"/>
              <a:t>Randomization has limits: if the real-world dynamics lie outside the randomized range, or if the gap is irreducible, e.g. complex contact physics that simulators cannot represent</a:t>
            </a:r>
          </a:p>
          <a:p>
            <a:r>
              <a:rPr lang="en-US" dirty="0"/>
              <a:t>Randomization offers little guidance for refining the sim parameters post-transfer (offers no ideas for improvement of the parameters)</a:t>
            </a:r>
          </a:p>
          <a:p>
            <a:endParaRPr lang="en-US" dirty="0"/>
          </a:p>
          <a:p>
            <a:r>
              <a:rPr lang="en-US" dirty="0"/>
              <a:t>So we use System Identification: using real-world data to calibrate the simulator</a:t>
            </a:r>
          </a:p>
          <a:p>
            <a:endParaRPr lang="en-US" dirty="0"/>
          </a:p>
          <a:p>
            <a:r>
              <a:rPr lang="en-US" dirty="0"/>
              <a:t>Early </a:t>
            </a:r>
            <a:r>
              <a:rPr lang="en-US" dirty="0" err="1"/>
              <a:t>efford</a:t>
            </a:r>
            <a:r>
              <a:rPr lang="en-US" dirty="0"/>
              <a:t> looked at the real-world and manual tuned the physical parameters</a:t>
            </a:r>
          </a:p>
          <a:p>
            <a:r>
              <a:rPr lang="en-US" dirty="0"/>
              <a:t>Newer approaches automated 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7728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Goal: </a:t>
            </a:r>
            <a:r>
              <a:rPr lang="en-US" b="1" noProof="0" dirty="0"/>
              <a:t>Match simulated behavior to real-world behavior by adjusting the distribution </a:t>
            </a:r>
            <a:r>
              <a:rPr lang="en-US" noProof="0" dirty="0"/>
              <a:t>over simulation parameters.</a:t>
            </a:r>
          </a:p>
          <a:p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Start with initial distribution</a:t>
            </a:r>
            <a:r>
              <a:rPr lang="en-US" noProof="0" dirty="0"/>
              <a:t>: </a:t>
            </a:r>
            <a:r>
              <a:rPr lang="en-US" noProof="0" dirty="0" err="1"/>
              <a:t>mulitvariate</a:t>
            </a:r>
            <a:r>
              <a:rPr lang="en-US" noProof="0" dirty="0"/>
              <a:t> Gaussian over simulation parameters, e.g. friction, mass, joint damping, object position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Train policy in simulation</a:t>
            </a:r>
            <a:r>
              <a:rPr lang="en-US" noProof="0" dirty="0"/>
              <a:t>: samples simulation parameters, learns policy under diverse simulated scenarios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Collect real-world rollouts</a:t>
            </a:r>
            <a:r>
              <a:rPr lang="en-US" noProof="0" dirty="0"/>
              <a:t>: Execute policy to real robot, record the observation </a:t>
            </a:r>
            <a:r>
              <a:rPr lang="en-US" noProof="0" dirty="0" err="1"/>
              <a:t>tracetories</a:t>
            </a:r>
            <a:endParaRPr lang="en-US" noProof="0" dirty="0"/>
          </a:p>
          <a:p>
            <a:pPr marL="228600" indent="-228600">
              <a:buAutoNum type="arabicPeriod"/>
            </a:pPr>
            <a:r>
              <a:rPr lang="en-US" b="1" noProof="0" dirty="0"/>
              <a:t>Compute discrepancy</a:t>
            </a:r>
            <a:r>
              <a:rPr lang="en-US" noProof="0" dirty="0"/>
              <a:t>: Compare real and simulated observations using a distance metric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Update simulation distribution</a:t>
            </a:r>
            <a:r>
              <a:rPr lang="en-US" noProof="0" dirty="0"/>
              <a:t>: Minimize the expected discrepancy</a:t>
            </a:r>
          </a:p>
          <a:p>
            <a:pPr marL="228600" indent="-228600">
              <a:buAutoNum type="arabicPeriod"/>
            </a:pPr>
            <a:r>
              <a:rPr lang="en-US" b="1" noProof="0" dirty="0"/>
              <a:t>Repeat</a:t>
            </a:r>
            <a:r>
              <a:rPr lang="en-US" noProof="0" dirty="0"/>
              <a:t>: alternate between training and distribution update</a:t>
            </a:r>
          </a:p>
          <a:p>
            <a:pPr marL="228600" indent="-228600">
              <a:buAutoNum type="arabicPeriod"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Domain Randomization?</a:t>
            </a:r>
          </a:p>
          <a:p>
            <a:pPr marL="0" indent="0">
              <a:buNone/>
            </a:pPr>
            <a:r>
              <a:rPr lang="en-US" noProof="0" dirty="0"/>
              <a:t>No real data, overfitting, not all parameters </a:t>
            </a:r>
            <a:r>
              <a:rPr lang="en-US" noProof="0" dirty="0" err="1"/>
              <a:t>identificable</a:t>
            </a:r>
            <a:r>
              <a:rPr lang="en-US" noProof="0" dirty="0"/>
              <a:t>, different target: DR -&gt; robustness, </a:t>
            </a:r>
            <a:r>
              <a:rPr lang="en-US" noProof="0" dirty="0" err="1"/>
              <a:t>SimOpt</a:t>
            </a:r>
            <a:r>
              <a:rPr lang="en-US" noProof="0" dirty="0"/>
              <a:t> -&gt; precision in a known env</a:t>
            </a:r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Why not for Observation or Action?</a:t>
            </a:r>
          </a:p>
          <a:p>
            <a:pPr marL="0" indent="0">
              <a:buNone/>
            </a:pPr>
            <a:r>
              <a:rPr lang="en-US" noProof="0" dirty="0"/>
              <a:t>Observation error are non-linear and high-dimensional, no feedback</a:t>
            </a:r>
          </a:p>
          <a:p>
            <a:pPr marL="0" indent="0">
              <a:buNone/>
            </a:pPr>
            <a:r>
              <a:rPr lang="en-US" noProof="0" dirty="0"/>
              <a:t>Action is also for other for other tasks, e.g. scaling, bias, discrete vs. continuous</a:t>
            </a:r>
          </a:p>
          <a:p>
            <a:pPr marL="0" indent="0">
              <a:buNone/>
            </a:pPr>
            <a:r>
              <a:rPr lang="en-US" noProof="0" dirty="0"/>
              <a:t>But is theoretical possible, needs exact modeling, much data, complex feedba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140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Labeling is the process to get annotations for the model like robot interactions, sensor data, images etc.</a:t>
            </a:r>
          </a:p>
          <a:p>
            <a:endParaRPr lang="en-US" noProof="0" dirty="0"/>
          </a:p>
          <a:p>
            <a:r>
              <a:rPr lang="en-US" noProof="0" dirty="0"/>
              <a:t>This is why we use simulation</a:t>
            </a:r>
          </a:p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3212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Sekunde 51</a:t>
            </a:r>
          </a:p>
          <a:p>
            <a:endParaRPr lang="de-DE" dirty="0"/>
          </a:p>
          <a:p>
            <a:r>
              <a:rPr lang="de-DE" b="1" dirty="0" err="1"/>
              <a:t>Lef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soft </a:t>
            </a:r>
            <a:r>
              <a:rPr lang="de-DE" dirty="0" err="1"/>
              <a:t>rope</a:t>
            </a:r>
            <a:r>
              <a:rPr lang="de-DE" dirty="0"/>
              <a:t>, </a:t>
            </a:r>
            <a:r>
              <a:rPr lang="de-DE" dirty="0" err="1"/>
              <a:t>peg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b="1" dirty="0" err="1"/>
              <a:t>results</a:t>
            </a:r>
            <a:r>
              <a:rPr lang="de-DE" b="1" dirty="0"/>
              <a:t> in a </a:t>
            </a:r>
            <a:r>
              <a:rPr lang="de-DE" b="1" dirty="0" err="1"/>
              <a:t>successful</a:t>
            </a:r>
            <a:r>
              <a:rPr lang="de-DE" b="1" dirty="0"/>
              <a:t> </a:t>
            </a:r>
            <a:r>
              <a:rPr lang="de-DE" b="1" dirty="0" err="1"/>
              <a:t>execution</a:t>
            </a:r>
            <a:r>
              <a:rPr lang="de-DE" b="1" dirty="0"/>
              <a:t> of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task</a:t>
            </a:r>
            <a:r>
              <a:rPr lang="de-DE" b="1" dirty="0"/>
              <a:t> </a:t>
            </a:r>
            <a:r>
              <a:rPr lang="de-DE" dirty="0"/>
              <a:t>on a real </a:t>
            </a:r>
            <a:r>
              <a:rPr lang="de-DE" dirty="0" err="1"/>
              <a:t>robot</a:t>
            </a:r>
            <a:r>
              <a:rPr lang="de-DE" dirty="0"/>
              <a:t> after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dirty="0" err="1"/>
              <a:t>iterations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b="1" dirty="0"/>
              <a:t>Right</a:t>
            </a:r>
            <a:r>
              <a:rPr lang="de-DE" dirty="0"/>
              <a:t>: </a:t>
            </a:r>
            <a:r>
              <a:rPr lang="de-DE" dirty="0" err="1"/>
              <a:t>SimOpt</a:t>
            </a:r>
            <a:r>
              <a:rPr lang="de-DE" dirty="0"/>
              <a:t> </a:t>
            </a:r>
            <a:r>
              <a:rPr lang="de-DE" b="1" dirty="0" err="1"/>
              <a:t>adjusts</a:t>
            </a:r>
            <a:r>
              <a:rPr lang="de-DE" b="1" dirty="0"/>
              <a:t> </a:t>
            </a:r>
            <a:r>
              <a:rPr lang="de-DE" b="1" dirty="0" err="1"/>
              <a:t>physical</a:t>
            </a:r>
            <a:r>
              <a:rPr lang="de-DE" b="1" dirty="0"/>
              <a:t> </a:t>
            </a:r>
            <a:r>
              <a:rPr lang="de-DE" b="1" dirty="0" err="1"/>
              <a:t>parameter</a:t>
            </a:r>
            <a:r>
              <a:rPr lang="de-DE" b="1" dirty="0"/>
              <a:t> </a:t>
            </a:r>
            <a:r>
              <a:rPr lang="de-DE" b="1" dirty="0" err="1"/>
              <a:t>distribution</a:t>
            </a:r>
            <a:r>
              <a:rPr lang="de-DE" b="1" dirty="0"/>
              <a:t> </a:t>
            </a:r>
            <a:r>
              <a:rPr lang="de-DE" dirty="0"/>
              <a:t>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awer</a:t>
            </a:r>
            <a:r>
              <a:rPr lang="de-DE" dirty="0"/>
              <a:t>. Before </a:t>
            </a:r>
            <a:r>
              <a:rPr lang="de-DE" dirty="0" err="1"/>
              <a:t>upd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b="1" dirty="0" err="1"/>
              <a:t>pushes</a:t>
            </a:r>
            <a:r>
              <a:rPr lang="de-DE" b="1" dirty="0"/>
              <a:t> </a:t>
            </a:r>
            <a:r>
              <a:rPr lang="de-DE" b="1" dirty="0" err="1"/>
              <a:t>too</a:t>
            </a:r>
            <a:r>
              <a:rPr lang="de-DE" b="1" dirty="0"/>
              <a:t> </a:t>
            </a:r>
            <a:r>
              <a:rPr lang="de-DE" b="1" dirty="0" err="1"/>
              <a:t>much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drawer</a:t>
            </a:r>
            <a:r>
              <a:rPr lang="de-DE" b="1" dirty="0"/>
              <a:t> handle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one</a:t>
            </a:r>
            <a:r>
              <a:rPr lang="de-DE" b="1" dirty="0"/>
              <a:t> of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fingers</a:t>
            </a:r>
            <a:r>
              <a:rPr lang="de-DE" b="1" dirty="0"/>
              <a:t>, </a:t>
            </a:r>
            <a:r>
              <a:rPr lang="de-DE" b="1" dirty="0" err="1"/>
              <a:t>which</a:t>
            </a:r>
            <a:r>
              <a:rPr lang="de-DE" b="1" dirty="0"/>
              <a:t> </a:t>
            </a:r>
            <a:r>
              <a:rPr lang="de-DE" b="1" dirty="0" err="1"/>
              <a:t>lead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opening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dirty="0"/>
              <a:t>. After </a:t>
            </a:r>
            <a:r>
              <a:rPr lang="de-DE" b="1" dirty="0" err="1"/>
              <a:t>one</a:t>
            </a:r>
            <a:r>
              <a:rPr lang="de-DE" b="1" dirty="0"/>
              <a:t> </a:t>
            </a:r>
            <a:r>
              <a:rPr lang="de-DE" b="1" dirty="0" err="1"/>
              <a:t>SimOpt</a:t>
            </a:r>
            <a:r>
              <a:rPr lang="de-DE" b="1" dirty="0"/>
              <a:t> </a:t>
            </a:r>
            <a:r>
              <a:rPr lang="de-DE" b="1" dirty="0" err="1"/>
              <a:t>iteration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bo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b="1" dirty="0" err="1"/>
              <a:t>better</a:t>
            </a:r>
            <a:r>
              <a:rPr lang="de-DE" b="1" dirty="0"/>
              <a:t> </a:t>
            </a:r>
            <a:r>
              <a:rPr lang="de-DE" b="1" dirty="0" err="1"/>
              <a:t>control</a:t>
            </a:r>
            <a:r>
              <a:rPr lang="de-DE" b="1" dirty="0"/>
              <a:t> </a:t>
            </a:r>
            <a:r>
              <a:rPr lang="de-DE" b="1" dirty="0" err="1"/>
              <a:t>its</a:t>
            </a:r>
            <a:r>
              <a:rPr lang="de-DE" b="1" dirty="0"/>
              <a:t> </a:t>
            </a:r>
            <a:r>
              <a:rPr lang="de-DE" b="1" dirty="0" err="1"/>
              <a:t>gripper</a:t>
            </a:r>
            <a:r>
              <a:rPr lang="de-DE" b="1" dirty="0"/>
              <a:t> </a:t>
            </a:r>
            <a:r>
              <a:rPr lang="de-DE" b="1" dirty="0" err="1"/>
              <a:t>orientation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lea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</a:t>
            </a:r>
            <a:r>
              <a:rPr lang="de-DE" dirty="0" err="1"/>
              <a:t>accurat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6058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Why Use Reward-Based Techniques in Sim-to-Real Transfer?</a:t>
            </a:r>
          </a:p>
          <a:p>
            <a:endParaRPr lang="en-US" b="1" dirty="0"/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imulation Rewards Are Often Unrealistic</a:t>
            </a:r>
            <a:br>
              <a:rPr lang="en-US" b="1" dirty="0"/>
            </a:br>
            <a:r>
              <a:rPr lang="en-US" dirty="0"/>
              <a:t>In simulation, we have full access to ground-truth states (e.g., object positions, velocities).</a:t>
            </a:r>
            <a:br>
              <a:rPr lang="en-US" dirty="0"/>
            </a:br>
            <a:r>
              <a:rPr lang="en-US" dirty="0"/>
              <a:t>Real robots don’t have perfect state access — rewards based on idealized data lead to </a:t>
            </a:r>
            <a:r>
              <a:rPr lang="en-US" b="1" dirty="0"/>
              <a:t>poor real-world generalization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Overfitting to Artificial Reward Signals</a:t>
            </a:r>
            <a:br>
              <a:rPr lang="en-US" b="1" dirty="0"/>
            </a:br>
            <a:r>
              <a:rPr lang="en-US" dirty="0"/>
              <a:t>Simulated rewards may be dense, precise, and idealized.</a:t>
            </a:r>
            <a:br>
              <a:rPr lang="en-US" dirty="0"/>
            </a:br>
            <a:r>
              <a:rPr lang="en-US" dirty="0"/>
              <a:t>This encourages behaviors that exploit </a:t>
            </a:r>
            <a:r>
              <a:rPr lang="en-US" b="1" dirty="0"/>
              <a:t>simulation-specific shortcuts</a:t>
            </a:r>
            <a:r>
              <a:rPr lang="en-US" dirty="0"/>
              <a:t>, not strategies that work in reality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Mismatch Between Sim and Real Reward Availability</a:t>
            </a:r>
            <a:br>
              <a:rPr lang="en-US" b="1" dirty="0"/>
            </a:br>
            <a:r>
              <a:rPr lang="en-US" dirty="0"/>
              <a:t>The way rewards are computed in sim (e.g., using internal simulator data) is </a:t>
            </a:r>
            <a:r>
              <a:rPr lang="en-US" b="1" dirty="0"/>
              <a:t>not replicable</a:t>
            </a:r>
            <a:r>
              <a:rPr lang="en-US" dirty="0"/>
              <a:t> in the real world.</a:t>
            </a:r>
            <a:br>
              <a:rPr lang="en-US" dirty="0"/>
            </a:br>
            <a:r>
              <a:rPr lang="en-US" dirty="0"/>
              <a:t>If the agent relies on those reward structures, it won’t behave meaningfully once deployed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Shapes the Exploration Space</a:t>
            </a:r>
            <a:br>
              <a:rPr lang="en-US" b="1" dirty="0"/>
            </a:br>
            <a:r>
              <a:rPr lang="en-US" dirty="0"/>
              <a:t>Rewards guide what parts of the environment the agent explores during training.</a:t>
            </a:r>
            <a:br>
              <a:rPr lang="en-US" dirty="0"/>
            </a:br>
            <a:r>
              <a:rPr lang="en-US" dirty="0"/>
              <a:t>Poor reward shaping leads to </a:t>
            </a:r>
            <a:r>
              <a:rPr lang="en-US" b="1" dirty="0"/>
              <a:t>insufficient exposure to realistic situations</a:t>
            </a:r>
            <a:r>
              <a:rPr lang="en-US" dirty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Sparse or Learned Rewards Improve Robustness</a:t>
            </a:r>
            <a:br>
              <a:rPr lang="en-US" b="1" dirty="0"/>
            </a:br>
            <a:r>
              <a:rPr lang="en-US" dirty="0"/>
              <a:t>Using </a:t>
            </a:r>
            <a:r>
              <a:rPr lang="en-US" b="1" dirty="0"/>
              <a:t>sparse, goal-based, or learned rewards</a:t>
            </a:r>
            <a:r>
              <a:rPr lang="en-US" dirty="0"/>
              <a:t> can make the policy more general and less reliant on specific sim conditions.</a:t>
            </a:r>
            <a:br>
              <a:rPr lang="en-US" dirty="0"/>
            </a:br>
            <a:r>
              <a:rPr lang="en-US" dirty="0"/>
              <a:t>Techniques like </a:t>
            </a:r>
            <a:r>
              <a:rPr lang="en-US" b="1" dirty="0"/>
              <a:t>adversarial imitation learning</a:t>
            </a:r>
            <a:r>
              <a:rPr lang="en-US" dirty="0"/>
              <a:t> or </a:t>
            </a:r>
            <a:r>
              <a:rPr lang="en-US" b="1" dirty="0"/>
              <a:t>reward modeling from real demonstrations</a:t>
            </a:r>
            <a:r>
              <a:rPr lang="en-US" dirty="0"/>
              <a:t> align training more closely with real-world success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54059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Normal: Learn a reward function from a given policy</a:t>
            </a:r>
          </a:p>
          <a:p>
            <a:endParaRPr lang="en-US" noProof="0" dirty="0"/>
          </a:p>
          <a:p>
            <a:r>
              <a:rPr lang="en-US" noProof="0" dirty="0"/>
              <a:t>Now: Learn a reward function from real observations, to use this in the simulation</a:t>
            </a:r>
          </a:p>
          <a:p>
            <a:endParaRPr lang="en-US" noProof="0" dirty="0"/>
          </a:p>
          <a:p>
            <a:r>
              <a:rPr lang="en-US" noProof="0" dirty="0"/>
              <a:t>Problem: We doesn’t have a perfect policy, so our reward modelling must be robust against imperfect s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4565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train a policy which tries to imitate the real observations.</a:t>
            </a:r>
            <a:br>
              <a:rPr lang="en-US" dirty="0"/>
            </a:br>
            <a:r>
              <a:rPr lang="en-US" dirty="0"/>
              <a:t>The real and simulated trajectories are rated from a discriminator how real they seem</a:t>
            </a:r>
          </a:p>
          <a:p>
            <a:r>
              <a:rPr lang="en-US" dirty="0"/>
              <a:t>This creates the reward.</a:t>
            </a:r>
          </a:p>
          <a:p>
            <a:r>
              <a:rPr lang="en-US" dirty="0"/>
              <a:t>Based on the reward we optimize the policy.</a:t>
            </a:r>
          </a:p>
          <a:p>
            <a:r>
              <a:rPr lang="en-US" dirty="0"/>
              <a:t>With the policy we can discover more examples of the environment, which helps against overfitting and local maximum</a:t>
            </a:r>
          </a:p>
          <a:p>
            <a:endParaRPr lang="en-US" dirty="0"/>
          </a:p>
          <a:p>
            <a:r>
              <a:rPr lang="en-US" dirty="0"/>
              <a:t>This reward formula </a:t>
            </a:r>
            <a:r>
              <a:rPr lang="en-US" b="1" dirty="0"/>
              <a:t>combines two goals</a:t>
            </a:r>
            <a:r>
              <a:rPr lang="en-US" dirty="0"/>
              <a:t>:</a:t>
            </a:r>
          </a:p>
          <a:p>
            <a:endParaRPr lang="en-US" dirty="0"/>
          </a:p>
          <a:p>
            <a:r>
              <a:rPr lang="en-US" b="1" dirty="0"/>
              <a:t>Imitation</a:t>
            </a:r>
            <a:r>
              <a:rPr lang="en-US" dirty="0"/>
              <a:t> via 𝑓(𝑠,𝑎)</a:t>
            </a:r>
          </a:p>
          <a:p>
            <a:r>
              <a:rPr lang="en-US" dirty="0"/>
              <a:t>f(</a:t>
            </a:r>
            <a:r>
              <a:rPr lang="en-US" dirty="0" err="1"/>
              <a:t>s,a</a:t>
            </a:r>
            <a:r>
              <a:rPr lang="en-US" dirty="0"/>
              <a:t>)):The reward is high if the action looks as if it comes from an expert (discriminator says “good”).</a:t>
            </a:r>
          </a:p>
          <a:p>
            <a:endParaRPr lang="en-US" dirty="0"/>
          </a:p>
          <a:p>
            <a:r>
              <a:rPr lang="en-US" b="1" dirty="0"/>
              <a:t>Exploration</a:t>
            </a:r>
            <a:r>
              <a:rPr lang="en-US" dirty="0"/>
              <a:t> / regularization via -log𝜋(𝑎∣𝑠)</a:t>
            </a:r>
          </a:p>
          <a:p>
            <a:r>
              <a:rPr lang="en-US" dirty="0"/>
              <a:t>-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):Punishes deterministic policies → promotes stochastic behavior. Prevents the policy from becoming too rigidly focused on individual actions, which can happen with </a:t>
            </a:r>
            <a:r>
              <a:rPr lang="en-US" dirty="0" err="1"/>
              <a:t>overadjusted</a:t>
            </a:r>
            <a:r>
              <a:rPr lang="en-US" dirty="0"/>
              <a:t> (overfitting) rewards.</a:t>
            </a:r>
          </a:p>
          <a:p>
            <a:endParaRPr lang="en-US" dirty="0"/>
          </a:p>
          <a:p>
            <a:r>
              <a:rPr lang="en-US" dirty="0"/>
              <a:t>Why AIRL is robust to imperfect outlier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dversarial framing</a:t>
            </a:r>
            <a:r>
              <a:rPr lang="en-US" dirty="0"/>
              <a:t>: AIRL doesn't require demonstrations to be strictly optimal — it learns to </a:t>
            </a:r>
            <a:r>
              <a:rPr lang="en-US" i="1" dirty="0"/>
              <a:t>distinguish expert-like behavior</a:t>
            </a:r>
            <a:r>
              <a:rPr lang="en-US" dirty="0"/>
              <a:t> statistically rather than assuming perf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Discriminator learns distributions</a:t>
            </a:r>
            <a:r>
              <a:rPr lang="en-US" dirty="0"/>
              <a:t>: Instead of binary classification, the discriminator outputs probabilities. Outlier actions simply receive lower confidence, not hard rejec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Maximum Entropy regularization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 reward is defined as 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⁡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r(s, a) = f(s, a) - \log \pi(</a:t>
            </a:r>
            <a:r>
              <a:rPr lang="en-US" dirty="0" err="1"/>
              <a:t>a|s</a:t>
            </a:r>
            <a:r>
              <a:rPr lang="en-US" dirty="0"/>
              <a:t>)r(</a:t>
            </a:r>
            <a:r>
              <a:rPr lang="en-US" dirty="0" err="1"/>
              <a:t>s,a</a:t>
            </a:r>
            <a:r>
              <a:rPr lang="en-US" dirty="0"/>
              <a:t>)=f(</a:t>
            </a:r>
            <a:r>
              <a:rPr lang="en-US" dirty="0" err="1"/>
              <a:t>s,a</a:t>
            </a:r>
            <a:r>
              <a:rPr lang="en-US" dirty="0"/>
              <a:t>)−log</a:t>
            </a:r>
            <a:r>
              <a:rPr lang="el-GR" dirty="0"/>
              <a:t>π(</a:t>
            </a:r>
            <a:r>
              <a:rPr lang="en-US" dirty="0" err="1"/>
              <a:t>a∣s</a:t>
            </a:r>
            <a:r>
              <a:rPr lang="en-US" dirty="0"/>
              <a:t>) → This penalizes overconfident (deterministic) policies and promotes diverse, exploratory behavior — which helps smooth over noisy or inconsistent expert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Implicit robustness to noise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Imperfect or inconsistent samples don't dominate training, because the discriminator sees them as low-probability samples rather than rejecting the entire trajecto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Focus on general trends, not individual error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captures </a:t>
            </a:r>
            <a:r>
              <a:rPr lang="en-US" i="1" dirty="0"/>
              <a:t>global patterns</a:t>
            </a:r>
            <a:r>
              <a:rPr lang="en-US" dirty="0"/>
              <a:t> of expert behavior. Outliers affect the reward function only locally, not syst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ward learned as a scoring function, not a strict imitation sign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IRL optimizes a reward model that gradually separates “likely expert” from “unlikely expert” behavior — making it more tolerant of variance in the da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2533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dirty="0"/>
              <a:t>Trajectory Generation</a:t>
            </a:r>
            <a:br>
              <a:rPr lang="en-US" b="1" dirty="0"/>
            </a:br>
            <a:r>
              <a:rPr lang="en-US" dirty="0"/>
              <a:t>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interacts with a simulated environment to generate trajectories </a:t>
            </a:r>
            <a:r>
              <a:rPr lang="el-GR" dirty="0"/>
              <a:t>τ\</a:t>
            </a:r>
            <a:r>
              <a:rPr lang="en-US" dirty="0"/>
              <a:t>tau</a:t>
            </a:r>
            <a:r>
              <a:rPr lang="el-GR" dirty="0"/>
              <a:t>τ, </a:t>
            </a:r>
            <a:r>
              <a:rPr lang="en-US" dirty="0"/>
              <a:t>i.e. sequences of state–action pairs ((o0,a0),(o1,a1),…,(</a:t>
            </a:r>
            <a:r>
              <a:rPr lang="en-US" dirty="0" err="1"/>
              <a:t>oT,aT</a:t>
            </a:r>
            <a:r>
              <a:rPr lang="en-US" dirty="0"/>
              <a:t>))((o_0, a_0), (o_1, a_1), \dots, (</a:t>
            </a:r>
            <a:r>
              <a:rPr lang="en-US" dirty="0" err="1"/>
              <a:t>o_T</a:t>
            </a:r>
            <a:r>
              <a:rPr lang="en-US" dirty="0"/>
              <a:t>, </a:t>
            </a:r>
            <a:r>
              <a:rPr lang="en-US" dirty="0" err="1"/>
              <a:t>a_T</a:t>
            </a:r>
            <a:r>
              <a:rPr lang="en-US" dirty="0"/>
              <a:t>))((o0​,a0​),(o1​,a1​),…,(</a:t>
            </a:r>
            <a:r>
              <a:rPr lang="en-US" dirty="0" err="1"/>
              <a:t>oT</a:t>
            </a:r>
            <a:r>
              <a:rPr lang="en-US" dirty="0"/>
              <a:t>​,</a:t>
            </a:r>
            <a:r>
              <a:rPr lang="en-US" dirty="0" err="1"/>
              <a:t>aT</a:t>
            </a:r>
            <a:r>
              <a:rPr lang="en-US" dirty="0"/>
              <a:t>​)).</a:t>
            </a:r>
            <a:br>
              <a:rPr lang="en-US" dirty="0"/>
            </a:br>
            <a:r>
              <a:rPr lang="en-US" dirty="0"/>
              <a:t>These trajectories are collected without requiring access to a predefined reward function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from Human Preference</a:t>
            </a:r>
            <a:br>
              <a:rPr lang="en-US" b="1" dirty="0"/>
            </a:br>
            <a:r>
              <a:rPr lang="en-US" dirty="0"/>
              <a:t>Instead of using an environment-defined reward, human feedback is used to define rewards indirectly.</a:t>
            </a:r>
            <a:br>
              <a:rPr lang="en-US" dirty="0"/>
            </a:br>
            <a:r>
              <a:rPr lang="en-US" dirty="0"/>
              <a:t>A human compares pairs of trajectory segments and selects the preferred one.</a:t>
            </a:r>
            <a:br>
              <a:rPr lang="en-US" dirty="0"/>
            </a:br>
            <a:r>
              <a:rPr lang="en-US" dirty="0"/>
              <a:t>This creates binary or ranked </a:t>
            </a:r>
            <a:r>
              <a:rPr lang="en-US" b="1" dirty="0"/>
              <a:t>preference data</a:t>
            </a:r>
            <a:r>
              <a:rPr lang="en-US" dirty="0"/>
              <a:t> over behavior rather than scalar reward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Reward Model Learning</a:t>
            </a:r>
            <a:br>
              <a:rPr lang="en-US" b="1" dirty="0"/>
            </a:br>
            <a:r>
              <a:rPr lang="en-US" dirty="0"/>
              <a:t>A neural network learns to approximate a latent reward function r^\hat{r}r^ that explains the human's preferences.</a:t>
            </a:r>
            <a:br>
              <a:rPr lang="en-US" dirty="0"/>
            </a:br>
            <a:r>
              <a:rPr lang="en-US" dirty="0"/>
              <a:t>The network is updated using supervised learning from these comparison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dirty="0"/>
              <a:t>Policy Optimization</a:t>
            </a:r>
            <a:br>
              <a:rPr lang="en-US" b="1" dirty="0"/>
            </a:br>
            <a:r>
              <a:rPr lang="en-US" dirty="0"/>
              <a:t>The learned reward signal r^\hat{r}r^ is then used to train the policy </a:t>
            </a:r>
            <a:r>
              <a:rPr lang="el-GR" dirty="0"/>
              <a:t>π\</a:t>
            </a:r>
            <a:r>
              <a:rPr lang="en-US" dirty="0"/>
              <a:t>pi</a:t>
            </a:r>
            <a:r>
              <a:rPr lang="el-GR" dirty="0"/>
              <a:t>π </a:t>
            </a:r>
            <a:r>
              <a:rPr lang="en-US" dirty="0"/>
              <a:t>using a standard RL algorithm (e.g. TRPO, PPO).</a:t>
            </a:r>
            <a:br>
              <a:rPr lang="en-US" dirty="0"/>
            </a:br>
            <a:r>
              <a:rPr lang="en-US" dirty="0"/>
              <a:t>The feedback loop continues: as the policy improves, new trajectories are generated and queried.</a:t>
            </a:r>
          </a:p>
          <a:p>
            <a:endParaRPr lang="en-US" b="1" dirty="0"/>
          </a:p>
          <a:p>
            <a:r>
              <a:rPr lang="en-US" b="1" dirty="0"/>
              <a:t>🛠️Relevance for Sim-to-Real Trans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Simulation as a Safe Training Ground</a:t>
            </a:r>
            <a:br>
              <a:rPr lang="en-US" dirty="0"/>
            </a:br>
            <a:r>
              <a:rPr lang="en-US" dirty="0"/>
              <a:t>The agent is trained in simulation, avoiding the risks and costs of real-world experimen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 Handcrafted Rewards Needed</a:t>
            </a:r>
            <a:br>
              <a:rPr lang="en-US" dirty="0"/>
            </a:br>
            <a:r>
              <a:rPr lang="en-US" dirty="0"/>
              <a:t>Preference-based feedback bypasses the need for accurate or safe reward specification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ligning with Human Intentions</a:t>
            </a:r>
            <a:br>
              <a:rPr lang="en-US" dirty="0"/>
            </a:br>
            <a:r>
              <a:rPr lang="en-US" dirty="0"/>
              <a:t>Human feedback captures qualitative goals (e.g. smoothness, safety, style) that are hard to express mathematic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ridging the Reality Gap</a:t>
            </a:r>
            <a:br>
              <a:rPr lang="en-US" dirty="0"/>
            </a:br>
            <a:r>
              <a:rPr lang="en-US" dirty="0"/>
              <a:t>Because preferences reflect real-world goals rather than simulated metrics, the trained behavior generalizes better to real deployme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3390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the average reward over 5 batches, with different reward functions: once is with the real reward function, the other with feedback queries.</a:t>
            </a:r>
          </a:p>
          <a:p>
            <a:r>
              <a:rPr lang="en-US" dirty="0"/>
              <a:t>Synthetic queries are not generated by humans, they are generated with the real reward function</a:t>
            </a:r>
          </a:p>
          <a:p>
            <a:endParaRPr lang="en-US" dirty="0"/>
          </a:p>
          <a:p>
            <a:r>
              <a:rPr lang="en-US" dirty="0"/>
              <a:t>We can see that policy with feedback perform often near or as good as the real reward function.</a:t>
            </a:r>
          </a:p>
          <a:p>
            <a:endParaRPr lang="en-US" dirty="0"/>
          </a:p>
          <a:p>
            <a:r>
              <a:rPr lang="en-US" dirty="0"/>
              <a:t>All tasks in simulation, no sim-to-real</a:t>
            </a:r>
          </a:p>
          <a:p>
            <a:endParaRPr lang="en-US" dirty="0"/>
          </a:p>
          <a:p>
            <a:r>
              <a:rPr lang="en-US" dirty="0"/>
              <a:t>Relevant to sim2real </a:t>
            </a:r>
            <a:r>
              <a:rPr lang="en-US" dirty="0" err="1"/>
              <a:t>bc</a:t>
            </a:r>
            <a:r>
              <a:rPr lang="en-US" dirty="0"/>
              <a:t>:</a:t>
            </a:r>
          </a:p>
          <a:p>
            <a:r>
              <a:rPr lang="en-US" dirty="0"/>
              <a:t>We doesn’t need a predefined reward function</a:t>
            </a:r>
          </a:p>
          <a:p>
            <a:r>
              <a:rPr lang="en-US" dirty="0"/>
              <a:t>Real world </a:t>
            </a:r>
            <a:r>
              <a:rPr lang="en-US" dirty="0" err="1"/>
              <a:t>rw</a:t>
            </a:r>
            <a:r>
              <a:rPr lang="en-US" dirty="0"/>
              <a:t> </a:t>
            </a:r>
            <a:r>
              <a:rPr lang="en-US" dirty="0" err="1"/>
              <a:t>func</a:t>
            </a:r>
            <a:r>
              <a:rPr lang="en-US" dirty="0"/>
              <a:t> are too comple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05223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LoRA</a:t>
            </a:r>
            <a:r>
              <a:rPr lang="en-US" dirty="0"/>
              <a:t> is an ensemble method which pre-train a policy with a basic reward function and fine-tune with </a:t>
            </a:r>
            <a:r>
              <a:rPr lang="en-US" dirty="0" err="1"/>
              <a:t>PbRL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basic reward function is task specific, but not fine-tuned</a:t>
            </a:r>
          </a:p>
          <a:p>
            <a:endParaRPr lang="en-US" dirty="0"/>
          </a:p>
          <a:p>
            <a:r>
              <a:rPr lang="en-US" dirty="0"/>
              <a:t>Measuring the sim-to-real gap is hard, </a:t>
            </a:r>
            <a:r>
              <a:rPr lang="en-US" dirty="0" err="1"/>
              <a:t>bc</a:t>
            </a:r>
            <a:r>
              <a:rPr lang="en-US" dirty="0"/>
              <a:t> we always can use a bad reward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3563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dim reduced state-action-pairs and the reward</a:t>
            </a:r>
          </a:p>
          <a:p>
            <a:endParaRPr lang="en-US" dirty="0"/>
          </a:p>
          <a:p>
            <a:r>
              <a:rPr lang="en-US" dirty="0"/>
              <a:t>Before just like -5 and +1 </a:t>
            </a:r>
          </a:p>
          <a:p>
            <a:r>
              <a:rPr lang="en-US" dirty="0"/>
              <a:t>Now flexible and very detailed values for each pair</a:t>
            </a:r>
          </a:p>
          <a:p>
            <a:endParaRPr lang="en-US" dirty="0"/>
          </a:p>
          <a:p>
            <a:r>
              <a:rPr lang="en-US" dirty="0"/>
              <a:t>Reduced with t-S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2374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How can we make our system robust to th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32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hequered</a:t>
            </a:r>
            <a:r>
              <a:rPr lang="de-DE" dirty="0"/>
              <a:t> Rag = Karo-Lappen</a:t>
            </a:r>
          </a:p>
          <a:p>
            <a:r>
              <a:rPr lang="de-DE" dirty="0" err="1"/>
              <a:t>Towel</a:t>
            </a:r>
            <a:r>
              <a:rPr lang="de-DE" dirty="0"/>
              <a:t> Rag = Handtuch-Lappen</a:t>
            </a:r>
          </a:p>
          <a:p>
            <a:r>
              <a:rPr lang="de-DE" dirty="0" err="1"/>
              <a:t>Linen</a:t>
            </a:r>
            <a:r>
              <a:rPr lang="de-DE" dirty="0"/>
              <a:t> Rag = Leinen-Lappen</a:t>
            </a:r>
          </a:p>
          <a:p>
            <a:endParaRPr lang="de-DE" dirty="0"/>
          </a:p>
          <a:p>
            <a:r>
              <a:rPr lang="de-DE" dirty="0"/>
              <a:t>See </a:t>
            </a:r>
            <a:r>
              <a:rPr lang="de-DE" dirty="0" err="1"/>
              <a:t>Towels</a:t>
            </a:r>
            <a:r>
              <a:rPr lang="de-DE" dirty="0"/>
              <a:t> and </a:t>
            </a:r>
            <a:r>
              <a:rPr lang="de-DE" dirty="0" err="1"/>
              <a:t>actions</a:t>
            </a:r>
            <a:r>
              <a:rPr lang="de-DE" dirty="0"/>
              <a:t> on </a:t>
            </a:r>
            <a:r>
              <a:rPr lang="de-DE" dirty="0" err="1"/>
              <a:t>them</a:t>
            </a:r>
            <a:endParaRPr lang="de-DE" dirty="0"/>
          </a:p>
          <a:p>
            <a:r>
              <a:rPr lang="de-DE" dirty="0"/>
              <a:t>Dynamic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winging</a:t>
            </a:r>
            <a:endParaRPr lang="de-DE" dirty="0"/>
          </a:p>
          <a:p>
            <a:r>
              <a:rPr lang="de-DE" dirty="0"/>
              <a:t>Quasi-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anging</a:t>
            </a:r>
            <a:r>
              <a:rPr lang="de-DE" dirty="0"/>
              <a:t> and </a:t>
            </a:r>
            <a:r>
              <a:rPr lang="de-DE" dirty="0" err="1"/>
              <a:t>letting</a:t>
            </a:r>
            <a:r>
              <a:rPr lang="de-DE" dirty="0"/>
              <a:t> down </a:t>
            </a:r>
            <a:r>
              <a:rPr lang="de-DE" dirty="0" err="1"/>
              <a:t>slowly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real </a:t>
            </a:r>
            <a:r>
              <a:rPr lang="de-DE" dirty="0" err="1"/>
              <a:t>observations</a:t>
            </a:r>
            <a:r>
              <a:rPr lang="de-DE" dirty="0"/>
              <a:t> and </a:t>
            </a:r>
            <a:r>
              <a:rPr lang="de-DE" dirty="0" err="1"/>
              <a:t>imitation</a:t>
            </a:r>
            <a:r>
              <a:rPr lang="de-DE" dirty="0"/>
              <a:t> 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ator</a:t>
            </a:r>
            <a:endParaRPr lang="de-DE" dirty="0"/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asured</a:t>
            </a:r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RL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gap</a:t>
            </a:r>
            <a:endParaRPr lang="de-DE" dirty="0"/>
          </a:p>
          <a:p>
            <a:r>
              <a:rPr lang="de-DE" dirty="0"/>
              <a:t>Even in (quasi-)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task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192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slide is based on the work by </a:t>
            </a:r>
            <a:r>
              <a:rPr lang="en-US" b="1" dirty="0"/>
              <a:t>Tan et al. (2018)</a:t>
            </a:r>
            <a:r>
              <a:rPr lang="en-US" dirty="0"/>
              <a:t> titled </a:t>
            </a:r>
            <a:r>
              <a:rPr lang="en-US" i="1" dirty="0"/>
              <a:t>"Sim-to-Real: Learning Agile Locomotion for Quadruped Robots."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paper, the authors use </a:t>
            </a:r>
            <a:r>
              <a:rPr lang="en-US" b="1" dirty="0"/>
              <a:t>deep reinforcement learning</a:t>
            </a:r>
            <a:r>
              <a:rPr lang="en-US" dirty="0"/>
              <a:t> to train locomotion policies for a quadruped robot – specifically for </a:t>
            </a:r>
            <a:r>
              <a:rPr lang="en-US" b="1" dirty="0"/>
              <a:t>galloping</a:t>
            </a:r>
            <a:r>
              <a:rPr lang="en-US" dirty="0"/>
              <a:t> and </a:t>
            </a:r>
            <a:r>
              <a:rPr lang="en-US" b="1" dirty="0"/>
              <a:t>trotting gai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ing is performed entirely in </a:t>
            </a:r>
            <a:r>
              <a:rPr lang="en-US" b="1" dirty="0"/>
              <a:t>simulation</a:t>
            </a:r>
            <a:r>
              <a:rPr lang="en-US" dirty="0"/>
              <a:t>, and the learned policy is then deployed directly to a </a:t>
            </a:r>
            <a:r>
              <a:rPr lang="en-US" b="1" dirty="0"/>
              <a:t>real-world robot</a:t>
            </a:r>
            <a:r>
              <a:rPr lang="en-US" dirty="0"/>
              <a:t> — the Ghost Robotics </a:t>
            </a:r>
            <a:r>
              <a:rPr lang="en-US" dirty="0" err="1"/>
              <a:t>Minitaur</a:t>
            </a:r>
            <a:r>
              <a:rPr lang="en-US" dirty="0"/>
              <a:t> — without additional fine-tu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ain challenge is the </a:t>
            </a:r>
            <a:r>
              <a:rPr lang="en-US" b="1" dirty="0"/>
              <a:t>Sim-to-Real gap</a:t>
            </a:r>
            <a:r>
              <a:rPr lang="en-US" dirty="0"/>
              <a:t>: simulation and the real world differ in many small but critical ways — for example, in </a:t>
            </a:r>
            <a:r>
              <a:rPr lang="en-US" b="1" dirty="0"/>
              <a:t>actuator behavior</a:t>
            </a:r>
            <a:r>
              <a:rPr lang="en-US" dirty="0"/>
              <a:t>, </a:t>
            </a:r>
            <a:r>
              <a:rPr lang="en-US" b="1" dirty="0"/>
              <a:t>sensor noise</a:t>
            </a:r>
            <a:r>
              <a:rPr lang="en-US" dirty="0"/>
              <a:t>, or </a:t>
            </a:r>
            <a:r>
              <a:rPr lang="en-US" b="1" dirty="0"/>
              <a:t>latenc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minimize this gap, the authors improve simulation fidelity and make the learned policies </a:t>
            </a:r>
            <a:r>
              <a:rPr lang="en-US" b="1" dirty="0"/>
              <a:t>more robust</a:t>
            </a:r>
            <a:r>
              <a:rPr lang="en-US" dirty="0"/>
              <a:t>, e.g. by adding noise, latency modeling, and system identific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e subtle but important design decision:</a:t>
            </a:r>
            <a:br>
              <a:rPr lang="en-US" dirty="0"/>
            </a:br>
            <a:r>
              <a:rPr lang="en-US" dirty="0"/>
              <a:t>They </a:t>
            </a:r>
            <a:r>
              <a:rPr lang="en-US" b="1" dirty="0"/>
              <a:t>exclude the yaw angle</a:t>
            </a:r>
            <a:r>
              <a:rPr lang="en-US" dirty="0"/>
              <a:t> (rotation around the Z-axis) from the observation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? Because the </a:t>
            </a:r>
            <a:r>
              <a:rPr lang="en-US" b="1" dirty="0"/>
              <a:t>IMU yaw measurement drifts</a:t>
            </a:r>
            <a:r>
              <a:rPr lang="en-US" dirty="0"/>
              <a:t> significantly over time in the real robot.</a:t>
            </a:r>
            <a:br>
              <a:rPr lang="en-US" dirty="0"/>
            </a:br>
            <a:r>
              <a:rPr lang="en-US" dirty="0"/>
              <a:t>Including it would mean the agent learns to rely on a signal that's </a:t>
            </a:r>
            <a:r>
              <a:rPr lang="en-US" b="1" dirty="0"/>
              <a:t>unreliable in deployment</a:t>
            </a:r>
            <a:r>
              <a:rPr lang="en-US" dirty="0"/>
              <a:t> — leading to fail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a key takeaway:</a:t>
            </a:r>
            <a:br>
              <a:rPr lang="en-US" dirty="0"/>
            </a:br>
            <a:r>
              <a:rPr lang="en-US" b="1" dirty="0"/>
              <a:t>Sim-to-Real transfer starts with designing your observation space based on what you can actually trust in the real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0" dirty="0"/>
          </a:p>
          <a:p>
            <a:r>
              <a:rPr lang="en-US" dirty="0"/>
              <a:t>So in simulation, we shouldn’t blindly use all available sensor data — we must consider </a:t>
            </a:r>
            <a:r>
              <a:rPr lang="en-US" b="1" dirty="0"/>
              <a:t>what is feasible and stable to measure in reality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nilcJY5Kdt8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5.wmf"/><Relationship Id="rId5" Type="http://schemas.openxmlformats.org/officeDocument/2006/relationships/notesSlide" Target="../notesSlides/notesSlide28.xml"/><Relationship Id="rId10" Type="http://schemas.openxmlformats.org/officeDocument/2006/relationships/image" Target="../media/image57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102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+mj-lt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noProof="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noProof="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noProof="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otic grasping with </a:t>
            </a:r>
            <a:r>
              <a:rPr lang="en-US" noProof="0" dirty="0" err="1"/>
              <a:t>CycleGAN</a:t>
            </a:r>
            <a:r>
              <a:rPr lang="en-US" noProof="0" dirty="0"/>
              <a:t>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71663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obot Grap Success</a:t>
                      </a:r>
                      <a:br>
                        <a:rPr lang="en-US" sz="1000" noProof="0" dirty="0">
                          <a:latin typeface="+mj-lt"/>
                        </a:rPr>
                      </a:br>
                      <a:r>
                        <a:rPr lang="en-US" sz="1000" noProof="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L-</a:t>
                      </a:r>
                      <a:r>
                        <a:rPr lang="en-US" sz="1000" noProof="0" dirty="0" err="1">
                          <a:latin typeface="+mj-lt"/>
                        </a:rPr>
                        <a:t>CycleGAN</a:t>
                      </a:r>
                      <a:endParaRPr lang="en-US" sz="1000" noProof="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RL-</a:t>
            </a:r>
            <a:r>
              <a:rPr lang="en-US" noProof="0" dirty="0" err="1"/>
              <a:t>CycleGAN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noProof="0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endParaRPr lang="en-US" sz="1600" b="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en-US" sz="16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endParaRPr lang="en-US" sz="1600" noProof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en-US" sz="16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1600" b="0" i="1" noProof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en-US" sz="16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noProof="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 b="-2387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Rao et al., “RL-</a:t>
            </a:r>
            <a:r>
              <a:rPr lang="en-US" sz="800" noProof="0" dirty="0" err="1">
                <a:latin typeface="+mj-lt"/>
                <a:cs typeface="Arial" pitchFamily="34" charset="0"/>
              </a:rPr>
              <a:t>CycleGAN</a:t>
            </a:r>
            <a:r>
              <a:rPr lang="en-US" sz="800" noProof="0" dirty="0">
                <a:latin typeface="+mj-lt"/>
                <a:cs typeface="Arial" pitchFamily="34" charset="0"/>
              </a:rPr>
              <a:t>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Fazit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Oberservation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BFEBD5A8-ACD6-F63F-886C-ADD06465F7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2039" y="602821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 err="1">
                <a:solidFill>
                  <a:srgbClr val="FFFFFF"/>
                </a:solidFill>
              </a:rPr>
              <a:t>TODO:Action</a:t>
            </a:r>
            <a:r>
              <a:rPr lang="en-US" sz="1200" b="1" noProof="0" dirty="0">
                <a:solidFill>
                  <a:srgbClr val="FFFFFF"/>
                </a:solidFill>
              </a:rPr>
              <a:t> Titl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7C5A5C9-3B34-131C-1545-A901EA8DBC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9824278"/>
              </p:ext>
            </p:extLst>
          </p:nvPr>
        </p:nvGraphicFramePr>
        <p:xfrm>
          <a:off x="1362038" y="2148840"/>
          <a:ext cx="7181924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481">
                  <a:extLst>
                    <a:ext uri="{9D8B030D-6E8A-4147-A177-3AD203B41FA5}">
                      <a16:colId xmlns:a16="http://schemas.microsoft.com/office/drawing/2014/main" val="3407318135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7225230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4198527169"/>
                    </a:ext>
                  </a:extLst>
                </a:gridCol>
                <a:gridCol w="1795481">
                  <a:extLst>
                    <a:ext uri="{9D8B030D-6E8A-4147-A177-3AD203B41FA5}">
                      <a16:colId xmlns:a16="http://schemas.microsoft.com/office/drawing/2014/main" val="10638799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Real-Worl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Adap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Gener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956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Sensor Mode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20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Domain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✗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★★★★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0754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Domain Adap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✓</a:t>
                      </a:r>
                      <a:endParaRPr lang="en-US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★★★★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362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noProof="0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657078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99" y="1140264"/>
            <a:ext cx="3960000" cy="2310000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8146EF81-75CB-5720-DF50-654E018864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599" y="646857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ction Titl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2CB4E-384D-E314-392A-6DA099748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999F75-E730-2604-A77B-E03883ECC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AAE4B6-26F9-36B8-283C-5695FB3F7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4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5E2141A-852E-7BC6-FB5B-2451018E08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DEAF12E-D54E-4405-B188-211233646D2C}"/>
              </a:ext>
            </a:extLst>
          </p:cNvPr>
          <p:cNvGrpSpPr/>
          <p:nvPr/>
        </p:nvGrpSpPr>
        <p:grpSpPr>
          <a:xfrm>
            <a:off x="277200" y="1805010"/>
            <a:ext cx="4846583" cy="3247979"/>
            <a:chOff x="1659400" y="1213382"/>
            <a:chExt cx="6266099" cy="406069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6FBA88-D311-8863-63BE-13BF3C98228A}"/>
                </a:ext>
              </a:extLst>
            </p:cNvPr>
            <p:cNvSpPr txBox="1"/>
            <p:nvPr/>
          </p:nvSpPr>
          <p:spPr>
            <a:xfrm>
              <a:off x="4413268" y="4694170"/>
              <a:ext cx="1360727" cy="57991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1200" dirty="0">
                  <a:latin typeface="+mj-lt"/>
                  <a:cs typeface="Arial" pitchFamily="34" charset="0"/>
                </a:rPr>
                <a:t>Baseline sim perturbation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05F339F-8623-55EB-1F9B-21E0AB51A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61762" y="1335853"/>
              <a:ext cx="5663737" cy="3358319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D7F421D-D480-0E7C-C4AD-AB8B362F3371}"/>
                </a:ext>
              </a:extLst>
            </p:cNvPr>
            <p:cNvSpPr txBox="1"/>
            <p:nvPr/>
          </p:nvSpPr>
          <p:spPr>
            <a:xfrm>
              <a:off x="1980502" y="1213382"/>
              <a:ext cx="277906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D927108-E304-E3E7-23C9-55A6279A7870}"/>
                </a:ext>
              </a:extLst>
            </p:cNvPr>
            <p:cNvSpPr txBox="1"/>
            <p:nvPr/>
          </p:nvSpPr>
          <p:spPr>
            <a:xfrm>
              <a:off x="1980502" y="2345251"/>
              <a:ext cx="277906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3B7E9E-8318-17F7-110C-F89CF19AAF11}"/>
                </a:ext>
              </a:extLst>
            </p:cNvPr>
            <p:cNvSpPr txBox="1"/>
            <p:nvPr/>
          </p:nvSpPr>
          <p:spPr>
            <a:xfrm>
              <a:off x="1980502" y="3477121"/>
              <a:ext cx="277906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1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5249543-7A5C-C5C2-FFBA-564DE697C825}"/>
                </a:ext>
              </a:extLst>
            </p:cNvPr>
            <p:cNvSpPr txBox="1"/>
            <p:nvPr/>
          </p:nvSpPr>
          <p:spPr>
            <a:xfrm>
              <a:off x="1980502" y="4608990"/>
              <a:ext cx="277906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43B33F3-B956-44F4-B758-E8830AA6ADD3}"/>
                </a:ext>
              </a:extLst>
            </p:cNvPr>
            <p:cNvSpPr txBox="1"/>
            <p:nvPr/>
          </p:nvSpPr>
          <p:spPr>
            <a:xfrm>
              <a:off x="2258408" y="4694170"/>
              <a:ext cx="1096965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1200" dirty="0">
                  <a:latin typeface="+mj-lt"/>
                  <a:cs typeface="Arial" pitchFamily="34" charset="0"/>
                </a:rPr>
                <a:t>Baseline sim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EB8AF1B-FE4E-8F18-A53A-11847018025B}"/>
                </a:ext>
              </a:extLst>
            </p:cNvPr>
            <p:cNvSpPr txBox="1"/>
            <p:nvPr/>
          </p:nvSpPr>
          <p:spPr>
            <a:xfrm>
              <a:off x="6742806" y="4694170"/>
              <a:ext cx="1096965" cy="244938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1200" dirty="0">
                  <a:latin typeface="+mj-lt"/>
                  <a:cs typeface="Arial" pitchFamily="34" charset="0"/>
                </a:rPr>
                <a:t>Our method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B0479B8-76BE-E9A4-68C8-0536ACDEEB7C}"/>
                </a:ext>
              </a:extLst>
            </p:cNvPr>
            <p:cNvSpPr txBox="1"/>
            <p:nvPr/>
          </p:nvSpPr>
          <p:spPr>
            <a:xfrm rot="16200000">
              <a:off x="949023" y="2834536"/>
              <a:ext cx="1781704" cy="360949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1200" dirty="0">
                  <a:latin typeface="+mj-lt"/>
                  <a:cs typeface="Arial" pitchFamily="34" charset="0"/>
                </a:rPr>
                <a:t>Expected retur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8450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3081FDD-D8C2-55A5-19BD-D230EEF638B6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9E89ADA-8780-C6F8-20C9-55F739663F76}"/>
              </a:ext>
            </a:extLst>
          </p:cNvPr>
          <p:cNvGrpSpPr/>
          <p:nvPr/>
        </p:nvGrpSpPr>
        <p:grpSpPr>
          <a:xfrm>
            <a:off x="387496" y="1310400"/>
            <a:ext cx="3820283" cy="3787347"/>
            <a:chOff x="290204" y="1310400"/>
            <a:chExt cx="3820283" cy="378734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A9EDC39-6D36-8019-908B-A9D4609A0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204" y="2464662"/>
              <a:ext cx="3820283" cy="2633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5DF4AFAE-CD5C-7F09-79D0-05AE406502FD}"/>
                </a:ext>
              </a:extLst>
            </p:cNvPr>
            <p:cNvSpPr txBox="1"/>
            <p:nvPr/>
          </p:nvSpPr>
          <p:spPr>
            <a:xfrm>
              <a:off x="8148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SL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09FFDEA-E05F-9BDA-F5DE-0471D1184060}"/>
              </a:ext>
            </a:extLst>
          </p:cNvPr>
          <p:cNvGrpSpPr/>
          <p:nvPr/>
        </p:nvGrpSpPr>
        <p:grpSpPr>
          <a:xfrm>
            <a:off x="5803597" y="1310400"/>
            <a:ext cx="3714909" cy="4051454"/>
            <a:chOff x="5627091" y="1310400"/>
            <a:chExt cx="3714909" cy="4051454"/>
          </a:xfrm>
        </p:grpSpPr>
        <p:pic>
          <p:nvPicPr>
            <p:cNvPr id="7" name="Grafik 6" descr="Ein Bild, das Diagramm, Kreis, Screenshot, Text enthält.&#10;&#10;KI-generierte Inhalte können fehlerhaft sein.">
              <a:extLst>
                <a:ext uri="{FF2B5EF4-FFF2-40B4-BE49-F238E27FC236}">
                  <a16:creationId xmlns:a16="http://schemas.microsoft.com/office/drawing/2014/main" id="{A7E60212-1827-4674-1B3F-061260B37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091" y="2200554"/>
              <a:ext cx="3714909" cy="316130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CD983B0-9606-469C-E002-ABA2B78FAFF5}"/>
                </a:ext>
              </a:extLst>
            </p:cNvPr>
            <p:cNvSpPr txBox="1"/>
            <p:nvPr/>
          </p:nvSpPr>
          <p:spPr>
            <a:xfrm>
              <a:off x="6099091" y="1310400"/>
              <a:ext cx="2770909" cy="3715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b="1" noProof="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GAT</a:t>
              </a:r>
            </a:p>
          </p:txBody>
        </p:sp>
      </p:grpSp>
      <p:sp>
        <p:nvSpPr>
          <p:cNvPr id="17" name="AutoShape 2">
            <a:extLst>
              <a:ext uri="{FF2B5EF4-FFF2-40B4-BE49-F238E27FC236}">
                <a16:creationId xmlns:a16="http://schemas.microsoft.com/office/drawing/2014/main" id="{87B8158F-1E63-9D90-8CA7-48A489414F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5275" y="3052541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6903-9390-1F09-5AD8-91FE92216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4A51A-43DD-4A3D-E48F-F5A380DE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A47D9-C75E-871E-3016-C7B79B45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A127C1-52B4-6BFF-9364-0FBD2756D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CCAC91A-B932-FB7E-D18C-AA52F273FF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2B526D3-7347-FBF0-DA92-2A685D3D170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Hanna et al., “Grounded action transformation for sim-to-real reinforcement learning”, Mach Learn 110, 2469-2499 (2021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7DA9265-62AE-C591-DD5E-D03B29BAE685}"/>
              </a:ext>
            </a:extLst>
          </p:cNvPr>
          <p:cNvGrpSpPr/>
          <p:nvPr/>
        </p:nvGrpSpPr>
        <p:grpSpPr>
          <a:xfrm>
            <a:off x="1651000" y="1227666"/>
            <a:ext cx="6604000" cy="4745974"/>
            <a:chOff x="1651000" y="1227666"/>
            <a:chExt cx="6604000" cy="4745974"/>
          </a:xfrm>
        </p:grpSpPr>
        <p:graphicFrame>
          <p:nvGraphicFramePr>
            <p:cNvPr id="9" name="Diagramm 8">
              <a:extLst>
                <a:ext uri="{FF2B5EF4-FFF2-40B4-BE49-F238E27FC236}">
                  <a16:creationId xmlns:a16="http://schemas.microsoft.com/office/drawing/2014/main" id="{C486519A-A2E5-FDF5-B18D-08E4AB3240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1976399"/>
                </p:ext>
              </p:extLst>
            </p:nvPr>
          </p:nvGraphicFramePr>
          <p:xfrm>
            <a:off x="1651000" y="1227666"/>
            <a:ext cx="6604000" cy="4402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F30E6EF-D8DC-5C5B-565E-1ED70C24E180}"/>
                </a:ext>
              </a:extLst>
            </p:cNvPr>
            <p:cNvSpPr txBox="1"/>
            <p:nvPr/>
          </p:nvSpPr>
          <p:spPr>
            <a:xfrm>
              <a:off x="1651000" y="5509794"/>
              <a:ext cx="6604000" cy="46384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The walking speed for GUIDED GSL was estimated by applying the reported improvement of 26% (as cited in Hanna &amp; Stone, 2017) to the baseline speed of the initial policy (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θ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₀ = 19.52 cm/s). While the original GSL study used a different setup, this extrapolated value is included for illustrative comparison only.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243ACF7-4501-D3A1-0512-F5B7594DF2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3299" y="1466153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when (not) to use</a:t>
            </a:r>
          </a:p>
        </p:txBody>
      </p:sp>
    </p:spTree>
    <p:extLst>
      <p:ext uri="{BB962C8B-B14F-4D97-AF65-F5344CB8AC3E}">
        <p14:creationId xmlns:p14="http://schemas.microsoft.com/office/powerpoint/2010/main" val="5001810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C4D8B-0CDB-65FF-8B67-271E35A2E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obust Policy Desig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B57069-6AA0-7194-12FE-F6A055FB7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20C402-ABB9-E584-7D25-A7E12820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172D9-C734-05C3-583B-BE15B1BC21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95A098E-5191-416B-DA28-7FBBD9B5D5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2453604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DAAF-DFFF-4D84-D370-84CD0E852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ystem Identification (</a:t>
            </a:r>
            <a:r>
              <a:rPr lang="en-US" noProof="0" dirty="0" err="1"/>
              <a:t>SysID</a:t>
            </a:r>
            <a:r>
              <a:rPr lang="en-US" noProof="0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C2F19-FF97-40DA-515C-5E263A04D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F61D7A-261E-FE2E-42D0-B174B632B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8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E131B76-DF6F-388E-E852-AC0A14378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DB48AB-9E41-96FB-9E11-6836FC839E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d content</a:t>
            </a:r>
          </a:p>
        </p:txBody>
      </p:sp>
    </p:spTree>
    <p:extLst>
      <p:ext uri="{BB962C8B-B14F-4D97-AF65-F5344CB8AC3E}">
        <p14:creationId xmlns:p14="http://schemas.microsoft.com/office/powerpoint/2010/main" val="1075381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82" name="Objekt 8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6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A69F9-7FD5-9750-5698-2FCD550B3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Simulation Optim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F02163-2F58-AE64-2A2B-6C6E6941D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747416-BF0E-0942-209B-82BB9C9EB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9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09DBC9E-6547-B327-E890-B90E6768F2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9" name="Line 3">
            <a:extLst>
              <a:ext uri="{FF2B5EF4-FFF2-40B4-BE49-F238E27FC236}">
                <a16:creationId xmlns:a16="http://schemas.microsoft.com/office/drawing/2014/main" id="{9DAA89D2-BE07-79D8-EE86-B11802E79A39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06807" y="1340340"/>
            <a:ext cx="3724" cy="4537898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0" name="Line 3">
            <a:extLst>
              <a:ext uri="{FF2B5EF4-FFF2-40B4-BE49-F238E27FC236}">
                <a16:creationId xmlns:a16="http://schemas.microsoft.com/office/drawing/2014/main" id="{AEF6A747-BE97-A88B-C4EF-F3AA292445D5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77201" y="5020466"/>
            <a:ext cx="9334796" cy="14540"/>
          </a:xfrm>
          <a:prstGeom prst="line">
            <a:avLst/>
          </a:prstGeom>
          <a:noFill/>
          <a:ln w="9525">
            <a:solidFill>
              <a:srgbClr val="93939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9B5F262-349D-7760-09AC-4B2E4641B79E}"/>
              </a:ext>
            </a:extLst>
          </p:cNvPr>
          <p:cNvSpPr/>
          <p:nvPr/>
        </p:nvSpPr>
        <p:spPr>
          <a:xfrm>
            <a:off x="492492" y="3618449"/>
            <a:ext cx="4963778" cy="1402017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AFE06E">
              <a:alpha val="50000"/>
            </a:srgbClr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2" name="Line 3">
            <a:extLst>
              <a:ext uri="{FF2B5EF4-FFF2-40B4-BE49-F238E27FC236}">
                <a16:creationId xmlns:a16="http://schemas.microsoft.com/office/drawing/2014/main" id="{1E9219A7-273A-1749-3A38-A8E162C19D02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2970657" y="1340340"/>
            <a:ext cx="3724" cy="4271638"/>
          </a:xfrm>
          <a:prstGeom prst="line">
            <a:avLst/>
          </a:prstGeom>
          <a:noFill/>
          <a:ln w="28575">
            <a:solidFill>
              <a:schemeClr val="bg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21CEC82-5552-9589-1787-0512176CC745}"/>
              </a:ext>
            </a:extLst>
          </p:cNvPr>
          <p:cNvSpPr/>
          <p:nvPr/>
        </p:nvSpPr>
        <p:spPr>
          <a:xfrm>
            <a:off x="6470584" y="1623581"/>
            <a:ext cx="3031735" cy="3411425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bg2">
              <a:lumMod val="40000"/>
              <a:lumOff val="60000"/>
              <a:alpha val="5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4" name="Line 3">
            <a:extLst>
              <a:ext uri="{FF2B5EF4-FFF2-40B4-BE49-F238E27FC236}">
                <a16:creationId xmlns:a16="http://schemas.microsoft.com/office/drawing/2014/main" id="{5F2FB599-EB09-32C7-0AF6-5E4B7FD8DF2D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7982727" y="1340340"/>
            <a:ext cx="3724" cy="4271635"/>
          </a:xfrm>
          <a:prstGeom prst="line">
            <a:avLst/>
          </a:prstGeom>
          <a:noFill/>
          <a:ln w="28575">
            <a:solidFill>
              <a:srgbClr val="608B2D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EEC7EB22-87FB-AB94-F36E-BFF49D83DC28}"/>
              </a:ext>
            </a:extLst>
          </p:cNvPr>
          <p:cNvSpPr/>
          <p:nvPr/>
        </p:nvSpPr>
        <p:spPr>
          <a:xfrm>
            <a:off x="4715837" y="2321878"/>
            <a:ext cx="3530306" cy="2713128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rgbClr val="EFB643">
              <a:alpha val="50000"/>
            </a:srgbClr>
          </a:solidFill>
          <a:ln>
            <a:solidFill>
              <a:srgbClr val="F189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8230D276-8DF5-8D3F-93B5-022B78CC0427}"/>
              </a:ext>
            </a:extLst>
          </p:cNvPr>
          <p:cNvSpPr/>
          <p:nvPr/>
        </p:nvSpPr>
        <p:spPr>
          <a:xfrm>
            <a:off x="2521122" y="3105649"/>
            <a:ext cx="4247041" cy="1929356"/>
          </a:xfrm>
          <a:custGeom>
            <a:avLst/>
            <a:gdLst>
              <a:gd name="connsiteX0" fmla="*/ 0 w 7598610"/>
              <a:gd name="connsiteY0" fmla="*/ 3267242 h 3277937"/>
              <a:gd name="connsiteX1" fmla="*/ 2400968 w 7598610"/>
              <a:gd name="connsiteY1" fmla="*/ 2417011 h 3277937"/>
              <a:gd name="connsiteX2" fmla="*/ 3791284 w 7598610"/>
              <a:gd name="connsiteY2" fmla="*/ 0 h 3277937"/>
              <a:gd name="connsiteX3" fmla="*/ 5192294 w 7598610"/>
              <a:gd name="connsiteY3" fmla="*/ 2417011 h 3277937"/>
              <a:gd name="connsiteX4" fmla="*/ 7598610 w 7598610"/>
              <a:gd name="connsiteY4" fmla="*/ 3277937 h 32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610" h="3277937">
                <a:moveTo>
                  <a:pt x="0" y="3267242"/>
                </a:moveTo>
                <a:cubicBezTo>
                  <a:pt x="884543" y="3114396"/>
                  <a:pt x="1769087" y="2961551"/>
                  <a:pt x="2400968" y="2417011"/>
                </a:cubicBezTo>
                <a:cubicBezTo>
                  <a:pt x="3032849" y="1872471"/>
                  <a:pt x="3326063" y="0"/>
                  <a:pt x="3791284" y="0"/>
                </a:cubicBezTo>
                <a:cubicBezTo>
                  <a:pt x="4256505" y="0"/>
                  <a:pt x="4557740" y="1870688"/>
                  <a:pt x="5192294" y="2417011"/>
                </a:cubicBezTo>
                <a:cubicBezTo>
                  <a:pt x="5826848" y="2963334"/>
                  <a:pt x="6712729" y="3120635"/>
                  <a:pt x="7598610" y="3277937"/>
                </a:cubicBezTo>
              </a:path>
            </a:pathLst>
          </a:custGeom>
          <a:solidFill>
            <a:schemeClr val="accent4">
              <a:lumMod val="60000"/>
              <a:lumOff val="40000"/>
              <a:alpha val="5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noProof="0" dirty="0">
              <a:ln>
                <a:solidFill>
                  <a:schemeClr val="bg2"/>
                </a:solidFill>
              </a:ln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DD2625-A7E2-8DA5-4C84-FB93A0F37E25}"/>
              </a:ext>
            </a:extLst>
          </p:cNvPr>
          <p:cNvGrpSpPr/>
          <p:nvPr/>
        </p:nvGrpSpPr>
        <p:grpSpPr>
          <a:xfrm>
            <a:off x="8373377" y="5348187"/>
            <a:ext cx="2701386" cy="769669"/>
            <a:chOff x="8373377" y="5575638"/>
            <a:chExt cx="2701386" cy="769669"/>
          </a:xfrm>
        </p:grpSpPr>
        <p:sp>
          <p:nvSpPr>
            <p:cNvPr id="30" name="Line 3">
              <a:extLst>
                <a:ext uri="{FF2B5EF4-FFF2-40B4-BE49-F238E27FC236}">
                  <a16:creationId xmlns:a16="http://schemas.microsoft.com/office/drawing/2014/main" id="{39B96285-922F-2E1B-0706-073F15E2CF65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8373377" y="6213411"/>
              <a:ext cx="274320" cy="0"/>
            </a:xfrm>
            <a:prstGeom prst="line">
              <a:avLst/>
            </a:prstGeom>
            <a:noFill/>
            <a:ln w="28575">
              <a:solidFill>
                <a:srgbClr val="608B2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B3A2CF38-8A23-17D9-12A4-136E55C3E442}"/>
                </a:ext>
              </a:extLst>
            </p:cNvPr>
            <p:cNvSpPr txBox="1"/>
            <p:nvPr/>
          </p:nvSpPr>
          <p:spPr>
            <a:xfrm>
              <a:off x="8703343" y="5575638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Source Mean</a:t>
              </a:r>
            </a:p>
          </p:txBody>
        </p:sp>
        <p:sp>
          <p:nvSpPr>
            <p:cNvPr id="29" name="Line 3">
              <a:extLst>
                <a:ext uri="{FF2B5EF4-FFF2-40B4-BE49-F238E27FC236}">
                  <a16:creationId xmlns:a16="http://schemas.microsoft.com/office/drawing/2014/main" id="{73137973-9D43-FB78-E673-1D34597D607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8373377" y="5707533"/>
              <a:ext cx="274320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3AF9C16-E284-7878-82EB-2A22AF822665}"/>
                </a:ext>
              </a:extLst>
            </p:cNvPr>
            <p:cNvSpPr txBox="1"/>
            <p:nvPr/>
          </p:nvSpPr>
          <p:spPr>
            <a:xfrm>
              <a:off x="8703343" y="6081516"/>
              <a:ext cx="2371420" cy="2637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100" noProof="0" dirty="0">
                  <a:latin typeface="+mj-lt"/>
                  <a:cs typeface="Arial" pitchFamily="34" charset="0"/>
                </a:rPr>
                <a:t>Target Mean</a:t>
              </a:r>
            </a:p>
          </p:txBody>
        </p:sp>
      </p:grpSp>
      <p:sp>
        <p:nvSpPr>
          <p:cNvPr id="43" name="Textfeld 10">
            <a:extLst>
              <a:ext uri="{FF2B5EF4-FFF2-40B4-BE49-F238E27FC236}">
                <a16:creationId xmlns:a16="http://schemas.microsoft.com/office/drawing/2014/main" id="{B158F271-1F31-DBD3-C7F0-07655854324D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91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1FA4F-6587-2A96-41A9-176A7A9B6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8C1919-68B7-116F-8C27-817A19EC29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0500" y="1569600"/>
            <a:ext cx="4665000" cy="268825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>
                <a:latin typeface="+mj-lt"/>
                <a:hlinkClick r:id="rId3"/>
              </a:rPr>
              <a:t>https://www.youtube.com/watch?v=nilcJY5Kdt8</a:t>
            </a:r>
            <a:endParaRPr lang="en-US" noProof="0" dirty="0"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F2BEA-EE20-975E-9BF3-475D3DB73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5C2A3F-4C26-0F64-23CE-CFEABED6D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0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2709D8-9814-C568-18B0-84A1F7A7EF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7C9BA3-CFD0-5FB8-C03E-1D45327F0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2776217"/>
            <a:ext cx="9334800" cy="130556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A36C85C-4D4F-47DD-2D19-7186B989AF94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Chebotar et al., “Closing the Sim-to-Real Loop:  Adapting Simulation Randomization with Real World Experience”,   ICRA, 8973-8979 (2019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374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F814C-EDF7-617C-2345-D04D0697C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ed Reward Fun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B572CA-E484-1DB0-06F4-31C895E52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33E16-B0C9-3D61-7080-E70B7A542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1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F234D8-9F03-0FE3-B6E3-3F82C767C1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5448049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BCFBA-C807-03B3-827F-315CFAA28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Inverse Reinforcement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D1F113-9A9D-5A6D-C797-4C48A2581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0447F-0841-74AA-E2D1-A6BF90024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2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FB57B9A-02B5-3B26-9D86-98772523FA2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75C412-3BDC-6F0E-1D31-EF093C73B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2018209"/>
            <a:ext cx="3707659" cy="27975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DCA6B4-CFE2-21A6-8AEF-DA224F97DC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2920" y="2018209"/>
            <a:ext cx="3719080" cy="2797597"/>
          </a:xfrm>
          <a:prstGeom prst="rect">
            <a:avLst/>
          </a:prstGeom>
        </p:spPr>
      </p:pic>
      <p:sp>
        <p:nvSpPr>
          <p:cNvPr id="10" name="AutoShape 2">
            <a:extLst>
              <a:ext uri="{FF2B5EF4-FFF2-40B4-BE49-F238E27FC236}">
                <a16:creationId xmlns:a16="http://schemas.microsoft.com/office/drawing/2014/main" id="{8021750B-EBF9-02F1-934D-1781E17FF5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1390" y="3364781"/>
            <a:ext cx="682033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E2F2-8D25-961F-9BB2-A513A555A45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Ng et al., “Algorithms for Inverse Reinforcement Learning”, ICML, 663-670 (2000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7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9D21-27A4-F755-549F-727E1EC59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ersarial IR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FF951B-10E7-DC52-1540-DD77EE116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9FA64-7516-8BFA-2952-E8A4F0651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23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7C190-CCD0-3272-FD31-EED15022C8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/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Policy </a:t>
                </a:r>
                <a14:m>
                  <m:oMath xmlns:m="http://schemas.openxmlformats.org/officeDocument/2006/math">
                    <m:r>
                      <a:rPr lang="en-US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906B2F-8CB0-4C1D-8820-C3FA9A1EAF2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0212" y="4358075"/>
                <a:ext cx="1311215" cy="5531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EC65531-2C37-72F9-50AF-0A0DC6BBA4B1}"/>
              </a:ext>
            </a:extLst>
          </p:cNvPr>
          <p:cNvCxnSpPr>
            <a:cxnSpLocks/>
          </p:cNvCxnSpPr>
          <p:nvPr/>
        </p:nvCxnSpPr>
        <p:spPr>
          <a:xfrm>
            <a:off x="3078405" y="2404016"/>
            <a:ext cx="764340" cy="0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75453-9660-199B-A7E3-73EB3EAC0874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842745" y="2404016"/>
            <a:ext cx="0" cy="66843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39AB3-7AB3-D5F4-D565-B5C28F0CAB62}"/>
              </a:ext>
            </a:extLst>
          </p:cNvPr>
          <p:cNvSpPr/>
          <p:nvPr/>
        </p:nvSpPr>
        <p:spPr>
          <a:xfrm>
            <a:off x="3126001" y="3072453"/>
            <a:ext cx="1433487" cy="553110"/>
          </a:xfrm>
          <a:prstGeom prst="rect">
            <a:avLst/>
          </a:prstGeom>
          <a:solidFill>
            <a:srgbClr val="F3CF74"/>
          </a:solidFill>
          <a:ln>
            <a:solidFill>
              <a:srgbClr val="EFB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latin typeface="+mj-lt"/>
              </a:rPr>
              <a:t>Discriminato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/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Discriminator Scor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A151BA1-40D6-C1AC-01DE-C22433565C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4062" y="3076870"/>
                <a:ext cx="1256737" cy="553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3CD228-C48C-1A8E-4923-910F5788718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4559488" y="3349008"/>
            <a:ext cx="574574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/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sz="1200" dirty="0">
                    <a:latin typeface="+mj-lt"/>
                  </a:rPr>
                  <a:t>Reward Function</a:t>
                </a:r>
                <a:br>
                  <a:rPr lang="en-US" sz="1200" dirty="0">
                    <a:latin typeface="+mj-lt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sz="1200" dirty="0">
                  <a:latin typeface="+mj-lt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0F18002-122A-BD24-2CF0-0B7788A25C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5372" y="3072453"/>
                <a:ext cx="2331723" cy="553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B029BF0-A1D9-EF26-CE7A-25B8D6AF95D0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6390799" y="3349008"/>
            <a:ext cx="574573" cy="4417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A9FC9F2-F243-EA23-4F1C-F19EEE3A2F7C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1895821" y="3349007"/>
            <a:ext cx="0" cy="1009067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3D0A52-9BE4-3D53-2A16-A34E194842E2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895820" y="3349007"/>
            <a:ext cx="1230181" cy="1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AEFABEC-347B-B8D2-9359-61F357EE9ADA}"/>
              </a:ext>
            </a:extLst>
          </p:cNvPr>
          <p:cNvSpPr txBox="1"/>
          <p:nvPr/>
        </p:nvSpPr>
        <p:spPr>
          <a:xfrm>
            <a:off x="3297324" y="2156583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Real Trajectories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DE8217-4421-729A-064F-B94435DE1B67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8131233" y="3625563"/>
            <a:ext cx="0" cy="1009066"/>
          </a:xfrm>
          <a:prstGeom prst="line">
            <a:avLst/>
          </a:prstGeom>
          <a:ln w="9525"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17478AF-EB65-40BF-E162-F97FF29C24D2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2551427" y="4634630"/>
            <a:ext cx="5579806" cy="0"/>
          </a:xfrm>
          <a:prstGeom prst="straightConnector1">
            <a:avLst/>
          </a:prstGeom>
          <a:ln w="9525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095FC0FB-C2C8-1109-344E-600E1B909259}"/>
              </a:ext>
            </a:extLst>
          </p:cNvPr>
          <p:cNvSpPr txBox="1"/>
          <p:nvPr/>
        </p:nvSpPr>
        <p:spPr>
          <a:xfrm>
            <a:off x="5848091" y="4617137"/>
            <a:ext cx="1527629" cy="2791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1200" dirty="0">
                <a:latin typeface="+mj-lt"/>
                <a:cs typeface="Arial" pitchFamily="34" charset="0"/>
              </a:rPr>
              <a:t>Used for training</a:t>
            </a:r>
          </a:p>
        </p:txBody>
      </p:sp>
      <p:pic>
        <p:nvPicPr>
          <p:cNvPr id="76" name="Graphic 75" descr="Earth globe: Africa and Europe with solid fill">
            <a:extLst>
              <a:ext uri="{FF2B5EF4-FFF2-40B4-BE49-F238E27FC236}">
                <a16:creationId xmlns:a16="http://schemas.microsoft.com/office/drawing/2014/main" id="{6033FF51-81C5-CCE5-A73B-DF580C912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6063" y="19468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527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846FE-8CE2-61B3-165E-10C7FD9A2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(</a:t>
            </a:r>
            <a:r>
              <a:rPr lang="en-US" dirty="0" err="1"/>
              <a:t>PbRL</a:t>
            </a:r>
            <a:r>
              <a:rPr lang="en-US" dirty="0"/>
              <a:t>) is used to determine an unknown reward func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861F97-7FDD-5F23-B1C6-05E46B80C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6DA137-8030-C668-F5DA-300E47369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4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BD2B20-D27B-A035-3451-A492375676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15811868-B508-CC30-DB59-14279CD86C61}"/>
              </a:ext>
            </a:extLst>
          </p:cNvPr>
          <p:cNvGrpSpPr/>
          <p:nvPr/>
        </p:nvGrpSpPr>
        <p:grpSpPr>
          <a:xfrm>
            <a:off x="1638869" y="1807934"/>
            <a:ext cx="6628263" cy="3946541"/>
            <a:chOff x="433628" y="1310400"/>
            <a:chExt cx="6628263" cy="394654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/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r>
                    <a:rPr lang="en-US" sz="1200" dirty="0">
                      <a:latin typeface="+mj-lt"/>
                    </a:rPr>
                    <a:t>Policy </a:t>
                  </a:r>
                  <a14:m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</m:oMath>
                  </a14:m>
                  <a:endParaRPr lang="en-US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ABCB74A2-9C63-06FD-583D-F8FDD868BB9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28750" y="1310400"/>
                  <a:ext cx="1600200" cy="418388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79906E-3FA7-CC1D-6FE1-AE5F6BD0B959}"/>
                </a:ext>
              </a:extLst>
            </p:cNvPr>
            <p:cNvSpPr/>
            <p:nvPr/>
          </p:nvSpPr>
          <p:spPr>
            <a:xfrm>
              <a:off x="1428750" y="2276551"/>
              <a:ext cx="1600200" cy="4183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dirty="0">
                  <a:latin typeface="+mj-lt"/>
                </a:rPr>
                <a:t>Environmen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21A05E7-E3A7-A34E-AC82-C05D36795E1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23393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3289E2F-FA4D-C739-D2F2-62CB244703F3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3894388"/>
              <a:ext cx="245745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483F4EC-5879-6F67-04A3-0D9DDA2C1AFC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615440"/>
              <a:ext cx="398145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4DB4A45-E0FD-F6CC-4EBF-D11D88B1F5A5}"/>
                </a:ext>
              </a:extLst>
            </p:cNvPr>
            <p:cNvCxnSpPr>
              <a:cxnSpLocks/>
            </p:cNvCxnSpPr>
            <p:nvPr/>
          </p:nvCxnSpPr>
          <p:spPr>
            <a:xfrm>
              <a:off x="3028950" y="1432560"/>
              <a:ext cx="643890" cy="0"/>
            </a:xfrm>
            <a:prstGeom prst="line">
              <a:avLst/>
            </a:prstGeom>
            <a:ln>
              <a:solidFill>
                <a:srgbClr val="000000"/>
              </a:solidFill>
              <a:headEnd type="triangl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EBDA5EA-D33E-87EE-4F11-434B9F748018}"/>
                </a:ext>
              </a:extLst>
            </p:cNvPr>
            <p:cNvCxnSpPr>
              <a:cxnSpLocks/>
            </p:cNvCxnSpPr>
            <p:nvPr/>
          </p:nvCxnSpPr>
          <p:spPr>
            <a:xfrm>
              <a:off x="3427095" y="1615440"/>
              <a:ext cx="0" cy="72390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3ADE960-9DC1-78D1-5BF1-10CF26A9521E}"/>
                </a:ext>
              </a:extLst>
            </p:cNvPr>
            <p:cNvCxnSpPr>
              <a:cxnSpLocks/>
            </p:cNvCxnSpPr>
            <p:nvPr/>
          </p:nvCxnSpPr>
          <p:spPr>
            <a:xfrm>
              <a:off x="3672840" y="1432560"/>
              <a:ext cx="0" cy="2461828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/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action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ACAC8B8-A27A-F2D8-B61F-BDA1CCB638A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3628" y="1869896"/>
                  <a:ext cx="1058619" cy="279180"/>
                </a:xfrm>
                <a:prstGeom prst="rect">
                  <a:avLst/>
                </a:prstGeom>
                <a:blipFill>
                  <a:blip r:embed="rId4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/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5196F776-D629-401E-95D2-3541021A439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4221" y="1869896"/>
                  <a:ext cx="1058619" cy="279180"/>
                </a:xfrm>
                <a:prstGeom prst="rect">
                  <a:avLst/>
                </a:prstGeom>
                <a:blipFill>
                  <a:blip r:embed="rId5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/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reward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acc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𝑟</m:t>
                              </m:r>
                            </m:e>
                          </m:acc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1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A798A7-B4D5-65DE-8129-E871827F00E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8358" y="3186243"/>
                  <a:ext cx="1058620" cy="279180"/>
                </a:xfrm>
                <a:prstGeom prst="rect">
                  <a:avLst/>
                </a:prstGeom>
                <a:blipFill>
                  <a:blip r:embed="rId6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6D0DD85F-EFA5-1700-531A-F8461FBBBD2E}"/>
                </a:ext>
              </a:extLst>
            </p:cNvPr>
            <p:cNvGrpSpPr/>
            <p:nvPr/>
          </p:nvGrpSpPr>
          <p:grpSpPr>
            <a:xfrm>
              <a:off x="1456868" y="3452455"/>
              <a:ext cx="1825118" cy="883866"/>
              <a:chOff x="6418026" y="1571056"/>
              <a:chExt cx="1825118" cy="883866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7330906-BD1F-F1CC-B497-B5ACC6C9E581}"/>
                  </a:ext>
                </a:extLst>
              </p:cNvPr>
              <p:cNvGrpSpPr/>
              <p:nvPr/>
            </p:nvGrpSpPr>
            <p:grpSpPr>
              <a:xfrm>
                <a:off x="6828585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204F6907-F9F1-1C98-BD99-9F778CBFCAD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00C6117A-D3CA-456A-0FFD-4A0692E053AD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2EDA6D35-EA2B-09B0-6E5B-00C2B3BD596F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CEF35B1E-1BA5-C3DA-5077-45E4A7CC9E47}"/>
                  </a:ext>
                </a:extLst>
              </p:cNvPr>
              <p:cNvGrpSpPr/>
              <p:nvPr/>
            </p:nvGrpSpPr>
            <p:grpSpPr>
              <a:xfrm>
                <a:off x="7239144" y="1571056"/>
                <a:ext cx="182880" cy="883866"/>
                <a:chOff x="6050281" y="1707948"/>
                <a:chExt cx="182880" cy="883866"/>
              </a:xfrm>
            </p:grpSpPr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F1FFB19F-7B49-4C1F-2B0E-670E0C125B06}"/>
                    </a:ext>
                  </a:extLst>
                </p:cNvPr>
                <p:cNvSpPr/>
                <p:nvPr/>
              </p:nvSpPr>
              <p:spPr>
                <a:xfrm>
                  <a:off x="6050281" y="1948971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57C3AF00-5164-4BB4-8E42-F11BFC2B4896}"/>
                    </a:ext>
                  </a:extLst>
                </p:cNvPr>
                <p:cNvSpPr/>
                <p:nvPr/>
              </p:nvSpPr>
              <p:spPr>
                <a:xfrm>
                  <a:off x="6050281" y="2178953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C010B445-87DA-8E7C-6C7D-54E9C8276781}"/>
                    </a:ext>
                  </a:extLst>
                </p:cNvPr>
                <p:cNvSpPr/>
                <p:nvPr/>
              </p:nvSpPr>
              <p:spPr>
                <a:xfrm>
                  <a:off x="6050281" y="2408934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5A9CFAF1-3311-4CA3-4C7F-5DAB9ED3F7CC}"/>
                    </a:ext>
                  </a:extLst>
                </p:cNvPr>
                <p:cNvSpPr/>
                <p:nvPr/>
              </p:nvSpPr>
              <p:spPr>
                <a:xfrm>
                  <a:off x="6050281" y="1707948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EF7E696A-5FA0-0CA6-57AE-4B920938662A}"/>
                  </a:ext>
                </a:extLst>
              </p:cNvPr>
              <p:cNvCxnSpPr>
                <a:stCxn id="55" idx="7"/>
                <a:endCxn id="56" idx="2"/>
              </p:cNvCxnSpPr>
              <p:nvPr/>
            </p:nvCxnSpPr>
            <p:spPr>
              <a:xfrm flipV="1">
                <a:off x="6574124" y="1783008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D55488B2-A314-E619-89DB-6818F719E26B}"/>
                  </a:ext>
                </a:extLst>
              </p:cNvPr>
              <p:cNvCxnSpPr>
                <a:stCxn id="55" idx="6"/>
                <a:endCxn id="57" idx="2"/>
              </p:cNvCxnSpPr>
              <p:nvPr/>
            </p:nvCxnSpPr>
            <p:spPr>
              <a:xfrm flipV="1">
                <a:off x="6600906" y="2012990"/>
                <a:ext cx="227679" cy="12537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B88FE986-EA4C-C7B5-CEEC-49D9F33261A5}"/>
                  </a:ext>
                </a:extLst>
              </p:cNvPr>
              <p:cNvCxnSpPr>
                <a:stCxn id="55" idx="5"/>
                <a:endCxn id="58" idx="2"/>
              </p:cNvCxnSpPr>
              <p:nvPr/>
            </p:nvCxnSpPr>
            <p:spPr>
              <a:xfrm>
                <a:off x="6574124" y="2203022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0F2ECBC-B4E3-BB72-0552-D9956B3348B0}"/>
                  </a:ext>
                </a:extLst>
              </p:cNvPr>
              <p:cNvGrpSpPr/>
              <p:nvPr/>
            </p:nvGrpSpPr>
            <p:grpSpPr>
              <a:xfrm>
                <a:off x="7649703" y="1691568"/>
                <a:ext cx="182880" cy="642843"/>
                <a:chOff x="5645372" y="1839547"/>
                <a:chExt cx="182880" cy="642843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2C58B0F8-CCC6-0725-04DD-B6B343F0DD8B}"/>
                    </a:ext>
                  </a:extLst>
                </p:cNvPr>
                <p:cNvSpPr/>
                <p:nvPr/>
              </p:nvSpPr>
              <p:spPr>
                <a:xfrm>
                  <a:off x="5645372" y="1839547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07DEDC31-CFD2-ABC6-41CA-D3A9EA38846A}"/>
                    </a:ext>
                  </a:extLst>
                </p:cNvPr>
                <p:cNvSpPr/>
                <p:nvPr/>
              </p:nvSpPr>
              <p:spPr>
                <a:xfrm>
                  <a:off x="5645372" y="2069529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F1A45372-F89E-060F-5A68-D7539BE59DA8}"/>
                    </a:ext>
                  </a:extLst>
                </p:cNvPr>
                <p:cNvSpPr/>
                <p:nvPr/>
              </p:nvSpPr>
              <p:spPr>
                <a:xfrm>
                  <a:off x="5645372" y="2299510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5B5B1A02-15EC-584E-43CD-5280CED4F11F}"/>
                  </a:ext>
                </a:extLst>
              </p:cNvPr>
              <p:cNvSpPr/>
              <p:nvPr/>
            </p:nvSpPr>
            <p:spPr>
              <a:xfrm>
                <a:off x="8060264" y="1921549"/>
                <a:ext cx="182880" cy="1828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B3DDE00-4036-5B84-E22F-59E1BD95A8C2}"/>
                  </a:ext>
                </a:extLst>
              </p:cNvPr>
              <p:cNvCxnSpPr>
                <a:cxnSpLocks/>
                <a:stCxn id="56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289EA3D-6EAC-5D7F-6B32-84EFED3C72C5}"/>
                  </a:ext>
                </a:extLst>
              </p:cNvPr>
              <p:cNvCxnSpPr>
                <a:cxnSpLocks/>
                <a:stCxn id="56" idx="6"/>
                <a:endCxn id="59" idx="2"/>
              </p:cNvCxnSpPr>
              <p:nvPr/>
            </p:nvCxnSpPr>
            <p:spPr>
              <a:xfrm>
                <a:off x="7011465" y="1783008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81E1632-0676-361B-792E-C5BE4DCA7993}"/>
                  </a:ext>
                </a:extLst>
              </p:cNvPr>
              <p:cNvCxnSpPr>
                <a:cxnSpLocks/>
                <a:stCxn id="56" idx="5"/>
                <a:endCxn id="60" idx="2"/>
              </p:cNvCxnSpPr>
              <p:nvPr/>
            </p:nvCxnSpPr>
            <p:spPr>
              <a:xfrm>
                <a:off x="6984683" y="1847666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96F553B-4FD8-A634-DB65-B1BEC574E812}"/>
                  </a:ext>
                </a:extLst>
              </p:cNvPr>
              <p:cNvCxnSpPr>
                <a:cxnSpLocks/>
                <a:stCxn id="56" idx="5"/>
                <a:endCxn id="61" idx="2"/>
              </p:cNvCxnSpPr>
              <p:nvPr/>
            </p:nvCxnSpPr>
            <p:spPr>
              <a:xfrm>
                <a:off x="6984683" y="1847666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661E4B5-52DC-FD51-1B5A-01C5DF4C7BEB}"/>
                  </a:ext>
                </a:extLst>
              </p:cNvPr>
              <p:cNvCxnSpPr>
                <a:stCxn id="57" idx="7"/>
                <a:endCxn id="62" idx="2"/>
              </p:cNvCxnSpPr>
              <p:nvPr/>
            </p:nvCxnSpPr>
            <p:spPr>
              <a:xfrm flipV="1">
                <a:off x="6984683" y="1662496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F48ECA9-F95F-B58D-0917-B3662D7D1097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 flipV="1">
                <a:off x="7011465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C49791C8-9AC1-7EAE-E7CC-7162A01CDB3E}"/>
                  </a:ext>
                </a:extLst>
              </p:cNvPr>
              <p:cNvCxnSpPr>
                <a:stCxn id="57" idx="6"/>
                <a:endCxn id="60" idx="2"/>
              </p:cNvCxnSpPr>
              <p:nvPr/>
            </p:nvCxnSpPr>
            <p:spPr>
              <a:xfrm>
                <a:off x="7011465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A5614223-30F3-7179-F149-98214E7DAE37}"/>
                  </a:ext>
                </a:extLst>
              </p:cNvPr>
              <p:cNvCxnSpPr>
                <a:stCxn id="57" idx="5"/>
                <a:endCxn id="61" idx="2"/>
              </p:cNvCxnSpPr>
              <p:nvPr/>
            </p:nvCxnSpPr>
            <p:spPr>
              <a:xfrm>
                <a:off x="6984683" y="2077648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73A8E44-22F8-4580-5D33-6E2235D3B72D}"/>
                  </a:ext>
                </a:extLst>
              </p:cNvPr>
              <p:cNvCxnSpPr>
                <a:stCxn id="58" idx="7"/>
                <a:endCxn id="62" idx="2"/>
              </p:cNvCxnSpPr>
              <p:nvPr/>
            </p:nvCxnSpPr>
            <p:spPr>
              <a:xfrm flipV="1">
                <a:off x="6984683" y="1662496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546031EB-3307-0725-F9B6-7F2A783CB735}"/>
                  </a:ext>
                </a:extLst>
              </p:cNvPr>
              <p:cNvCxnSpPr>
                <a:stCxn id="58" idx="7"/>
                <a:endCxn id="59" idx="2"/>
              </p:cNvCxnSpPr>
              <p:nvPr/>
            </p:nvCxnSpPr>
            <p:spPr>
              <a:xfrm flipV="1">
                <a:off x="6984683" y="1903519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74C76565-2BEA-B1D4-4E0A-944C3E697384}"/>
                  </a:ext>
                </a:extLst>
              </p:cNvPr>
              <p:cNvCxnSpPr>
                <a:stCxn id="58" idx="6"/>
                <a:endCxn id="60" idx="2"/>
              </p:cNvCxnSpPr>
              <p:nvPr/>
            </p:nvCxnSpPr>
            <p:spPr>
              <a:xfrm flipV="1">
                <a:off x="7011465" y="2133501"/>
                <a:ext cx="227679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DC042615-B402-926B-25AD-1CB509BB36C7}"/>
                  </a:ext>
                </a:extLst>
              </p:cNvPr>
              <p:cNvCxnSpPr>
                <a:stCxn id="58" idx="5"/>
                <a:endCxn id="61" idx="2"/>
              </p:cNvCxnSpPr>
              <p:nvPr/>
            </p:nvCxnSpPr>
            <p:spPr>
              <a:xfrm>
                <a:off x="6984683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37B54BD-7B6F-634E-4A56-797EB7BD95D4}"/>
                  </a:ext>
                </a:extLst>
              </p:cNvPr>
              <p:cNvCxnSpPr>
                <a:cxnSpLocks/>
                <a:stCxn id="62" idx="6"/>
                <a:endCxn id="72" idx="1"/>
              </p:cNvCxnSpPr>
              <p:nvPr/>
            </p:nvCxnSpPr>
            <p:spPr>
              <a:xfrm>
                <a:off x="7422024" y="1662496"/>
                <a:ext cx="254461" cy="5585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8FFCE16-4112-7BD1-E16D-F30D3081B596}"/>
                  </a:ext>
                </a:extLst>
              </p:cNvPr>
              <p:cNvCxnSpPr>
                <a:stCxn id="62" idx="5"/>
                <a:endCxn id="73" idx="2"/>
              </p:cNvCxnSpPr>
              <p:nvPr/>
            </p:nvCxnSpPr>
            <p:spPr>
              <a:xfrm>
                <a:off x="7395242" y="1727154"/>
                <a:ext cx="254461" cy="28583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C880751-17EB-89A5-8D65-13663C3226D6}"/>
                  </a:ext>
                </a:extLst>
              </p:cNvPr>
              <p:cNvCxnSpPr>
                <a:stCxn id="62" idx="5"/>
                <a:endCxn id="74" idx="2"/>
              </p:cNvCxnSpPr>
              <p:nvPr/>
            </p:nvCxnSpPr>
            <p:spPr>
              <a:xfrm>
                <a:off x="7395242" y="1727154"/>
                <a:ext cx="254461" cy="515817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975A3E76-9E4D-9C36-073C-35AF49E113FD}"/>
                  </a:ext>
                </a:extLst>
              </p:cNvPr>
              <p:cNvCxnSpPr>
                <a:cxnSpLocks/>
                <a:stCxn id="59" idx="7"/>
                <a:endCxn id="72" idx="1"/>
              </p:cNvCxnSpPr>
              <p:nvPr/>
            </p:nvCxnSpPr>
            <p:spPr>
              <a:xfrm flipV="1">
                <a:off x="7395242" y="1718350"/>
                <a:ext cx="281243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27EB77E1-1B75-ABE4-7C49-4F23743A1529}"/>
                  </a:ext>
                </a:extLst>
              </p:cNvPr>
              <p:cNvCxnSpPr>
                <a:stCxn id="59" idx="6"/>
                <a:endCxn id="73" idx="2"/>
              </p:cNvCxnSpPr>
              <p:nvPr/>
            </p:nvCxnSpPr>
            <p:spPr>
              <a:xfrm>
                <a:off x="7422024" y="1903519"/>
                <a:ext cx="227679" cy="10947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E3C330BC-03EE-4989-E5BF-E217A051240A}"/>
                  </a:ext>
                </a:extLst>
              </p:cNvPr>
              <p:cNvCxnSpPr>
                <a:stCxn id="59" idx="5"/>
                <a:endCxn id="74" idx="2"/>
              </p:cNvCxnSpPr>
              <p:nvPr/>
            </p:nvCxnSpPr>
            <p:spPr>
              <a:xfrm>
                <a:off x="7395242" y="1968177"/>
                <a:ext cx="254461" cy="27479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9CF4A75D-5039-E1CE-0136-FB102E4C7974}"/>
                  </a:ext>
                </a:extLst>
              </p:cNvPr>
              <p:cNvCxnSpPr>
                <a:stCxn id="60" idx="7"/>
                <a:endCxn id="72" idx="2"/>
              </p:cNvCxnSpPr>
              <p:nvPr/>
            </p:nvCxnSpPr>
            <p:spPr>
              <a:xfrm flipV="1">
                <a:off x="7395242" y="1783008"/>
                <a:ext cx="254461" cy="28583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330CAFB1-E2AB-D6C9-E7F4-AC29783FD0A1}"/>
                  </a:ext>
                </a:extLst>
              </p:cNvPr>
              <p:cNvCxnSpPr>
                <a:stCxn id="60" idx="6"/>
                <a:endCxn id="73" idx="2"/>
              </p:cNvCxnSpPr>
              <p:nvPr/>
            </p:nvCxnSpPr>
            <p:spPr>
              <a:xfrm flipV="1">
                <a:off x="7422024" y="2012990"/>
                <a:ext cx="227679" cy="12051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BBC6B065-5F7A-EF18-B204-9096672F7F87}"/>
                  </a:ext>
                </a:extLst>
              </p:cNvPr>
              <p:cNvCxnSpPr>
                <a:cxnSpLocks/>
                <a:stCxn id="60" idx="5"/>
                <a:endCxn id="74" idx="3"/>
              </p:cNvCxnSpPr>
              <p:nvPr/>
            </p:nvCxnSpPr>
            <p:spPr>
              <a:xfrm>
                <a:off x="7395242" y="2198159"/>
                <a:ext cx="281243" cy="109470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C7C73D0-1758-DD52-D636-7A477841BE44}"/>
                  </a:ext>
                </a:extLst>
              </p:cNvPr>
              <p:cNvCxnSpPr>
                <a:stCxn id="61" idx="7"/>
                <a:endCxn id="72" idx="2"/>
              </p:cNvCxnSpPr>
              <p:nvPr/>
            </p:nvCxnSpPr>
            <p:spPr>
              <a:xfrm flipV="1">
                <a:off x="7395242" y="1783008"/>
                <a:ext cx="254461" cy="515816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E14241CC-1528-3CE4-B693-1571CBA20119}"/>
                  </a:ext>
                </a:extLst>
              </p:cNvPr>
              <p:cNvCxnSpPr>
                <a:stCxn id="61" idx="7"/>
                <a:endCxn id="73" idx="2"/>
              </p:cNvCxnSpPr>
              <p:nvPr/>
            </p:nvCxnSpPr>
            <p:spPr>
              <a:xfrm flipV="1">
                <a:off x="7395242" y="2012990"/>
                <a:ext cx="254461" cy="28583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A239C0DD-C5A7-1CAC-715A-BBF094B6FB2A}"/>
                  </a:ext>
                </a:extLst>
              </p:cNvPr>
              <p:cNvCxnSpPr>
                <a:cxnSpLocks/>
                <a:stCxn id="61" idx="6"/>
                <a:endCxn id="74" idx="3"/>
              </p:cNvCxnSpPr>
              <p:nvPr/>
            </p:nvCxnSpPr>
            <p:spPr>
              <a:xfrm flipV="1">
                <a:off x="7422024" y="2307629"/>
                <a:ext cx="254461" cy="5585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C420740B-D116-3C7A-6513-E71C54E3B33D}"/>
                  </a:ext>
                </a:extLst>
              </p:cNvPr>
              <p:cNvCxnSpPr>
                <a:stCxn id="72" idx="6"/>
                <a:endCxn id="78" idx="1"/>
              </p:cNvCxnSpPr>
              <p:nvPr/>
            </p:nvCxnSpPr>
            <p:spPr>
              <a:xfrm>
                <a:off x="7832583" y="1783008"/>
                <a:ext cx="254463" cy="165323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110FA19-3D3B-2215-37F2-BE44B813B6A2}"/>
                  </a:ext>
                </a:extLst>
              </p:cNvPr>
              <p:cNvCxnSpPr>
                <a:stCxn id="73" idx="6"/>
                <a:endCxn id="78" idx="2"/>
              </p:cNvCxnSpPr>
              <p:nvPr/>
            </p:nvCxnSpPr>
            <p:spPr>
              <a:xfrm flipV="1">
                <a:off x="7832583" y="2012989"/>
                <a:ext cx="227681" cy="1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8053A116-EACD-EE63-854D-D52CF2F4BA55}"/>
                  </a:ext>
                </a:extLst>
              </p:cNvPr>
              <p:cNvCxnSpPr>
                <a:cxnSpLocks/>
                <a:stCxn id="74" idx="6"/>
                <a:endCxn id="78" idx="3"/>
              </p:cNvCxnSpPr>
              <p:nvPr/>
            </p:nvCxnSpPr>
            <p:spPr>
              <a:xfrm flipV="1">
                <a:off x="7832583" y="2077647"/>
                <a:ext cx="254463" cy="165324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1BECAF27-4762-3111-FADC-22EF81E5406A}"/>
                  </a:ext>
                </a:extLst>
              </p:cNvPr>
              <p:cNvGrpSpPr/>
              <p:nvPr/>
            </p:nvGrpSpPr>
            <p:grpSpPr>
              <a:xfrm>
                <a:off x="6418026" y="1796175"/>
                <a:ext cx="182880" cy="433629"/>
                <a:chOff x="6418026" y="1786936"/>
                <a:chExt cx="182880" cy="433629"/>
              </a:xfrm>
            </p:grpSpPr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D7307F5A-7BB7-CD3D-D5FB-AB6E28974E97}"/>
                    </a:ext>
                  </a:extLst>
                </p:cNvPr>
                <p:cNvSpPr/>
                <p:nvPr/>
              </p:nvSpPr>
              <p:spPr>
                <a:xfrm>
                  <a:off x="6418026" y="2037685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F4FCFFD5-9190-41D2-C1D3-71853172CB3D}"/>
                    </a:ext>
                  </a:extLst>
                </p:cNvPr>
                <p:cNvSpPr/>
                <p:nvPr/>
              </p:nvSpPr>
              <p:spPr>
                <a:xfrm>
                  <a:off x="6418026" y="1786936"/>
                  <a:ext cx="182880" cy="18288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200" dirty="0">
                    <a:latin typeface="+mn-lt"/>
                  </a:endParaRPr>
                </a:p>
              </p:txBody>
            </p:sp>
          </p:grp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CC48971D-55CE-2632-BBAC-5EA08354AFDA}"/>
                  </a:ext>
                </a:extLst>
              </p:cNvPr>
              <p:cNvCxnSpPr>
                <a:stCxn id="158" idx="7"/>
                <a:endCxn id="56" idx="2"/>
              </p:cNvCxnSpPr>
              <p:nvPr/>
            </p:nvCxnSpPr>
            <p:spPr>
              <a:xfrm flipV="1">
                <a:off x="6574124" y="1783008"/>
                <a:ext cx="254461" cy="39949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0B9F3CE9-D666-59B3-A2C1-21F1D1A414F1}"/>
                  </a:ext>
                </a:extLst>
              </p:cNvPr>
              <p:cNvCxnSpPr>
                <a:stCxn id="158" idx="6"/>
                <a:endCxn id="57" idx="2"/>
              </p:cNvCxnSpPr>
              <p:nvPr/>
            </p:nvCxnSpPr>
            <p:spPr>
              <a:xfrm>
                <a:off x="6600906" y="1887615"/>
                <a:ext cx="227679" cy="125375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B1348FAA-5EA9-DC52-62E9-95D56736B67A}"/>
                  </a:ext>
                </a:extLst>
              </p:cNvPr>
              <p:cNvCxnSpPr>
                <a:stCxn id="158" idx="5"/>
                <a:endCxn id="58" idx="2"/>
              </p:cNvCxnSpPr>
              <p:nvPr/>
            </p:nvCxnSpPr>
            <p:spPr>
              <a:xfrm>
                <a:off x="6574124" y="1952273"/>
                <a:ext cx="254461" cy="290698"/>
              </a:xfrm>
              <a:prstGeom prst="line">
                <a:avLst/>
              </a:prstGeom>
              <a:ln>
                <a:solidFill>
                  <a:srgbClr val="000000"/>
                </a:solidFill>
                <a:tailEnd type="non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E3AF0050-DAAD-640B-F278-63AB5D57C4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1587" y="1552514"/>
              <a:ext cx="5899" cy="2341874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79FB8C41-8B6F-6A3D-8D65-150AD7F9979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3894388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7335E586-957F-4C16-9021-B5E91D2A18B2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1552514"/>
              <a:ext cx="207111" cy="0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Arrow Connector 183">
              <a:extLst>
                <a:ext uri="{FF2B5EF4-FFF2-40B4-BE49-F238E27FC236}">
                  <a16:creationId xmlns:a16="http://schemas.microsoft.com/office/drawing/2014/main" id="{1D67A1BC-1A8D-B8A0-78AE-69573CCAE7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1587" y="2465070"/>
              <a:ext cx="217163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D2FC2CF2-5F36-D261-554A-4CE9A58FABB6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2228850" y="2694939"/>
              <a:ext cx="0" cy="562989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/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r>
                    <a:rPr lang="en-US" sz="1200" dirty="0">
                      <a:latin typeface="+mj-lt"/>
                      <a:cs typeface="Arial" pitchFamily="34" charset="0"/>
                    </a:rPr>
                    <a:t>stat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𝑡</m:t>
                          </m:r>
                        </m:sub>
                      </m:sSub>
                    </m:oMath>
                  </a14:m>
                  <a:r>
                    <a:rPr lang="en-US" sz="1200" dirty="0">
                      <a:latin typeface="+mj-lt"/>
                      <a:cs typeface="Arial" pitchFamily="34" charset="0"/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D2A71AC7-C4B8-14CA-5A69-285B42AA71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86017" y="2821135"/>
                  <a:ext cx="1058619" cy="279180"/>
                </a:xfrm>
                <a:prstGeom prst="rect">
                  <a:avLst/>
                </a:prstGeom>
                <a:blipFill>
                  <a:blip r:embed="rId7"/>
                  <a:stretch>
                    <a:fillRect b="-1304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057A578-460E-C517-07AD-2AE96F7D2273}"/>
                </a:ext>
              </a:extLst>
            </p:cNvPr>
            <p:cNvSpPr txBox="1"/>
            <p:nvPr/>
          </p:nvSpPr>
          <p:spPr>
            <a:xfrm>
              <a:off x="1343609" y="4819014"/>
              <a:ext cx="976312" cy="27918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Preference</a:t>
              </a:r>
            </a:p>
          </p:txBody>
        </p:sp>
        <p:sp>
          <p:nvSpPr>
            <p:cNvPr id="197" name="Right Brace 196">
              <a:extLst>
                <a:ext uri="{FF2B5EF4-FFF2-40B4-BE49-F238E27FC236}">
                  <a16:creationId xmlns:a16="http://schemas.microsoft.com/office/drawing/2014/main" id="{43E4F1BB-F237-B856-C79D-DB6B95ACF855}"/>
                </a:ext>
              </a:extLst>
            </p:cNvPr>
            <p:cNvSpPr/>
            <p:nvPr/>
          </p:nvSpPr>
          <p:spPr>
            <a:xfrm>
              <a:off x="3792242" y="1310400"/>
              <a:ext cx="785332" cy="1384539"/>
            </a:xfrm>
            <a:prstGeom prst="rightBrace">
              <a:avLst>
                <a:gd name="adj1" fmla="val 21611"/>
                <a:gd name="adj2" fmla="val 50000"/>
              </a:avLst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/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0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de-D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itchFamily="34" charset="0"/>
                              </a:rPr>
                              <m:t>,…,</m:t>
                            </m:r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𝑜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itchFamily="34" charset="0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itchFamily="34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 ~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itchFamily="34" charset="0"/>
                          </a:rPr>
                          <m:t>𝜏</m:t>
                        </m:r>
                      </m:oMath>
                    </m:oMathPara>
                  </a14:m>
                  <a:endParaRPr lang="en-US" sz="12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F56AE523-9241-88F8-C1CD-A60FF99B08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50582" y="1885057"/>
                  <a:ext cx="2232086" cy="208455"/>
                </a:xfrm>
                <a:prstGeom prst="rect">
                  <a:avLst/>
                </a:prstGeom>
                <a:blipFill>
                  <a:blip r:embed="rId8"/>
                  <a:stretch>
                    <a:fillRect r="-568" b="-2222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FD2C065-0C32-2A63-54D0-3A5ACEB46E77}"/>
                </a:ext>
              </a:extLst>
            </p:cNvPr>
            <p:cNvGrpSpPr/>
            <p:nvPr/>
          </p:nvGrpSpPr>
          <p:grpSpPr>
            <a:xfrm>
              <a:off x="5150028" y="3315662"/>
              <a:ext cx="1911863" cy="1398476"/>
              <a:chOff x="4869579" y="2912548"/>
              <a:chExt cx="1911863" cy="1398476"/>
            </a:xfrm>
          </p:grpSpPr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CE4B08D4-8E0A-87C0-DEA0-DB7E5F9300A7}"/>
                  </a:ext>
                </a:extLst>
              </p:cNvPr>
              <p:cNvGrpSpPr/>
              <p:nvPr/>
            </p:nvGrpSpPr>
            <p:grpSpPr>
              <a:xfrm>
                <a:off x="5368311" y="2912548"/>
                <a:ext cx="914400" cy="1398476"/>
                <a:chOff x="5340868" y="2912548"/>
                <a:chExt cx="914400" cy="1398476"/>
              </a:xfrm>
            </p:grpSpPr>
            <p:pic>
              <p:nvPicPr>
                <p:cNvPr id="193" name="Graphic 192" descr="Man with solid fill">
                  <a:extLst>
                    <a:ext uri="{FF2B5EF4-FFF2-40B4-BE49-F238E27FC236}">
                      <a16:creationId xmlns:a16="http://schemas.microsoft.com/office/drawing/2014/main" id="{211D28F5-12C6-9D9C-5E0A-A0562FAC20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40868" y="3396624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205" name="Graphic 204" descr="Question mark with solid fill">
                  <a:extLst>
                    <a:ext uri="{FF2B5EF4-FFF2-40B4-BE49-F238E27FC236}">
                      <a16:creationId xmlns:a16="http://schemas.microsoft.com/office/drawing/2014/main" id="{2241FC47-C7B4-D17D-9676-77C161FBBE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51257" y="2912548"/>
                  <a:ext cx="493623" cy="493623"/>
                </a:xfrm>
                <a:prstGeom prst="rect">
                  <a:avLst/>
                </a:prstGeom>
              </p:spPr>
            </p:pic>
          </p:grpSp>
          <p:pic>
            <p:nvPicPr>
              <p:cNvPr id="207" name="Graphic 206" descr="Close with solid fill">
                <a:extLst>
                  <a:ext uri="{FF2B5EF4-FFF2-40B4-BE49-F238E27FC236}">
                    <a16:creationId xmlns:a16="http://schemas.microsoft.com/office/drawing/2014/main" id="{E0382683-CC4B-90B5-DCF4-1A262261D3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24242" y="3625224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209" name="Graphic 208" descr="Checkmark with solid fill">
                <a:extLst>
                  <a:ext uri="{FF2B5EF4-FFF2-40B4-BE49-F238E27FC236}">
                    <a16:creationId xmlns:a16="http://schemas.microsoft.com/office/drawing/2014/main" id="{537D72FB-7F85-38A6-E992-79DDE2060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869579" y="3625224"/>
                <a:ext cx="457200" cy="457200"/>
              </a:xfrm>
              <a:prstGeom prst="rect">
                <a:avLst/>
              </a:prstGeom>
            </p:spPr>
          </p:pic>
        </p:grp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CEC51FED-4D01-A2A2-815C-AF981640C0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2198086"/>
              <a:ext cx="1" cy="988157"/>
            </a:xfrm>
            <a:prstGeom prst="line">
              <a:avLst/>
            </a:prstGeom>
            <a:ln>
              <a:solidFill>
                <a:srgbClr val="0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048448A2-8493-5648-B2D3-9AD473EF10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959" y="4798500"/>
              <a:ext cx="1" cy="458441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A1FBF57B-DC31-6684-2263-B342A34BD29A}"/>
                </a:ext>
              </a:extLst>
            </p:cNvPr>
            <p:cNvCxnSpPr>
              <a:cxnSpLocks/>
            </p:cNvCxnSpPr>
            <p:nvPr/>
          </p:nvCxnSpPr>
          <p:spPr>
            <a:xfrm>
              <a:off x="2228850" y="5256941"/>
              <a:ext cx="3877109" cy="0"/>
            </a:xfrm>
            <a:prstGeom prst="line">
              <a:avLst/>
            </a:prstGeom>
            <a:ln>
              <a:solidFill>
                <a:srgbClr val="000000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7372AB49-5895-35B3-4E42-4FB0D1970A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8850" y="4471083"/>
              <a:ext cx="0" cy="785858"/>
            </a:xfrm>
            <a:prstGeom prst="line">
              <a:avLst/>
            </a:prstGeom>
            <a:ln>
              <a:solidFill>
                <a:srgbClr val="000000"/>
              </a:solidFill>
              <a:headEnd type="non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752678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E63F6-8FB3-F606-0FD2-7B3C14712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ference-based RL can imitate the perfect reward function with just a few interac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47EC9E-533B-D8A4-B28D-C36F1F08C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E32938-E70D-D3AD-AD2E-78D62F9B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5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E9BFDA-8AE4-47CB-8FA8-44A01BB309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6AAA3-CFE1-FBF7-59CD-56FBF563C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721307"/>
            <a:ext cx="7772400" cy="4119796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50F79380-6743-0F01-CFFB-D8A965A85D3B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</a:t>
            </a:r>
            <a:r>
              <a:rPr lang="en-US" sz="800" dirty="0">
                <a:latin typeface="+mj-lt"/>
                <a:cs typeface="Arial" pitchFamily="34" charset="0"/>
              </a:rPr>
              <a:t>: Christiano </a:t>
            </a:r>
            <a:r>
              <a:rPr lang="en-US" sz="800" noProof="0" dirty="0">
                <a:latin typeface="+mj-lt"/>
                <a:cs typeface="Arial" pitchFamily="34" charset="0"/>
              </a:rPr>
              <a:t>et al., “Deep Reinforcement Learning from Human Preferences”, NIPS, (2017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2859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6B09-5BFA-D6D6-E13F-B6AB2944A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… even in real Application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56FC3-9C4C-8AF4-A644-514B7CB32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4A94F3-8554-C11D-03AB-18927E91A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6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754127-E12E-33A1-664F-B94A49C385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26889C-6F78-CB51-7D71-81FA62CA1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200" y="1563328"/>
            <a:ext cx="2331615" cy="18177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BD066C3-B9B2-04CA-A969-D259EC9C0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200" y="3931670"/>
            <a:ext cx="2337814" cy="1817739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EAD20A4-CE81-4015-F3CE-3FFFDF5150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224400"/>
              </p:ext>
            </p:extLst>
          </p:nvPr>
        </p:nvGraphicFramePr>
        <p:xfrm>
          <a:off x="3008001" y="1730517"/>
          <a:ext cx="6603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84">
                  <a:extLst>
                    <a:ext uri="{9D8B030D-6E8A-4147-A177-3AD203B41FA5}">
                      <a16:colId xmlns:a16="http://schemas.microsoft.com/office/drawing/2014/main" val="1981940535"/>
                    </a:ext>
                  </a:extLst>
                </a:gridCol>
                <a:gridCol w="1334182">
                  <a:extLst>
                    <a:ext uri="{9D8B030D-6E8A-4147-A177-3AD203B41FA5}">
                      <a16:colId xmlns:a16="http://schemas.microsoft.com/office/drawing/2014/main" val="2066365156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4187895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latin typeface="+mj-lt"/>
                        </a:rPr>
                        <a:t>FLoRA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Fine-Tu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76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Success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2527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Near Collision Rat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671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Average Finish Distance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0.6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968867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Velocity (</a:t>
                          </a:r>
                          <a14:m>
                            <m:oMath xmlns:m="http://schemas.openxmlformats.org/officeDocument/2006/math"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sSup>
                                <m:sSup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dirty="0">
                              <a:latin typeface="+mj-lt"/>
                            </a:rPr>
                            <a:t>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88F52625-4062-EE20-FEFE-470EE5AD78C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7017166"/>
                  </p:ext>
                </p:extLst>
              </p:nvPr>
            </p:nvGraphicFramePr>
            <p:xfrm>
              <a:off x="3008001" y="4284279"/>
              <a:ext cx="6603999" cy="11125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068484">
                      <a:extLst>
                        <a:ext uri="{9D8B030D-6E8A-4147-A177-3AD203B41FA5}">
                          <a16:colId xmlns:a16="http://schemas.microsoft.com/office/drawing/2014/main" val="1981940535"/>
                        </a:ext>
                      </a:extLst>
                    </a:gridCol>
                    <a:gridCol w="1334182">
                      <a:extLst>
                        <a:ext uri="{9D8B030D-6E8A-4147-A177-3AD203B41FA5}">
                          <a16:colId xmlns:a16="http://schemas.microsoft.com/office/drawing/2014/main" val="2066365156"/>
                        </a:ext>
                      </a:extLst>
                    </a:gridCol>
                    <a:gridCol w="2201333">
                      <a:extLst>
                        <a:ext uri="{9D8B030D-6E8A-4147-A177-3AD203B41FA5}">
                          <a16:colId xmlns:a16="http://schemas.microsoft.com/office/drawing/2014/main" val="41878956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Metric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 err="1">
                              <a:latin typeface="+mj-lt"/>
                            </a:rPr>
                            <a:t>FLoRA</a:t>
                          </a:r>
                          <a:endParaRPr lang="en-US" dirty="0">
                            <a:latin typeface="+mj-lt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Fine-Tune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987658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Distance Pushed (c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6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6125279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5"/>
                          <a:stretch>
                            <a:fillRect t="-210345" r="-116116" b="-275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1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dirty="0">
                              <a:latin typeface="+mj-lt"/>
                            </a:rPr>
                            <a:t>2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4067196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C0973720-30CB-01F5-765C-70E7EA50D87E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4626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1EE50-2DA5-0280-B94E-274D48E71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bRL</a:t>
            </a:r>
            <a:r>
              <a:rPr lang="en-US" dirty="0"/>
              <a:t> adjusts the reward in detail and precisel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816235-B33B-8A12-99E7-6893878F7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07DF6E-6DF6-59FC-B037-C4EFD93B1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7</a:t>
            </a:fld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E5F360A-7B0E-C154-DD6F-9318602C12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9A14C5-DB1B-60CF-6054-CD596EEB5B8A}"/>
              </a:ext>
            </a:extLst>
          </p:cNvPr>
          <p:cNvGrpSpPr/>
          <p:nvPr/>
        </p:nvGrpSpPr>
        <p:grpSpPr>
          <a:xfrm>
            <a:off x="1377746" y="2182659"/>
            <a:ext cx="1491412" cy="2492682"/>
            <a:chOff x="1377746" y="2182659"/>
            <a:chExt cx="1491412" cy="249268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F33F2E8-516A-619A-E640-F7E00FC84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552" y="2910041"/>
              <a:ext cx="1447800" cy="17653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5B38398-1413-3299-FA9E-7C98918B67C1}"/>
                </a:ext>
              </a:extLst>
            </p:cNvPr>
            <p:cNvSpPr txBox="1"/>
            <p:nvPr/>
          </p:nvSpPr>
          <p:spPr>
            <a:xfrm>
              <a:off x="1377746" y="2182659"/>
              <a:ext cx="1491412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a) Original Rewar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64DC7C-FD6A-0117-1C29-464E172B10E8}"/>
              </a:ext>
            </a:extLst>
          </p:cNvPr>
          <p:cNvGrpSpPr/>
          <p:nvPr/>
        </p:nvGrpSpPr>
        <p:grpSpPr>
          <a:xfrm>
            <a:off x="7080454" y="2182659"/>
            <a:ext cx="1447800" cy="2492682"/>
            <a:chOff x="7080454" y="2182659"/>
            <a:chExt cx="1447800" cy="24926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9483A9-07D3-82DE-40DB-14681D317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0454" y="2910041"/>
              <a:ext cx="1447800" cy="17653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83BEC07-A9BC-1211-19C3-F6DF756475EB}"/>
                </a:ext>
              </a:extLst>
            </p:cNvPr>
            <p:cNvSpPr txBox="1"/>
            <p:nvPr/>
          </p:nvSpPr>
          <p:spPr>
            <a:xfrm>
              <a:off x="7391272" y="2182659"/>
              <a:ext cx="826165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c) </a:t>
              </a:r>
              <a:r>
                <a:rPr lang="en-US" sz="1200" dirty="0" err="1">
                  <a:latin typeface="+mj-lt"/>
                  <a:cs typeface="Arial" pitchFamily="34" charset="0"/>
                </a:rPr>
                <a:t>FLoRA</a:t>
              </a:r>
              <a:endParaRPr lang="en-US" sz="120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403479-04A3-7888-066A-C1149997DF57}"/>
              </a:ext>
            </a:extLst>
          </p:cNvPr>
          <p:cNvGrpSpPr/>
          <p:nvPr/>
        </p:nvGrpSpPr>
        <p:grpSpPr>
          <a:xfrm>
            <a:off x="4250906" y="2182659"/>
            <a:ext cx="1447800" cy="2492682"/>
            <a:chOff x="4215068" y="2182659"/>
            <a:chExt cx="1447800" cy="24926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AB6147-E61E-2CF4-6CDC-034A0B997314}"/>
                </a:ext>
              </a:extLst>
            </p:cNvPr>
            <p:cNvSpPr txBox="1"/>
            <p:nvPr/>
          </p:nvSpPr>
          <p:spPr>
            <a:xfrm>
              <a:off x="4374402" y="2182659"/>
              <a:ext cx="1129133" cy="279180"/>
            </a:xfrm>
            <a:prstGeom prst="rect">
              <a:avLst/>
            </a:prstGeom>
            <a:noFill/>
          </p:spPr>
          <p:txBody>
            <a:bodyPr wrap="none" lIns="90000" tIns="46800" rIns="90000" bIns="46800" rtlCol="0">
              <a:spAutoFit/>
            </a:bodyPr>
            <a:lstStyle/>
            <a:p>
              <a:r>
                <a:rPr lang="en-US" sz="1200" dirty="0">
                  <a:latin typeface="+mj-lt"/>
                  <a:cs typeface="Arial" pitchFamily="34" charset="0"/>
                </a:rPr>
                <a:t>b) Fine - Tun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606A63-BB66-D91B-D681-6357BD507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5068" y="2910041"/>
              <a:ext cx="1447800" cy="1765300"/>
            </a:xfrm>
            <a:prstGeom prst="rect">
              <a:avLst/>
            </a:prstGeom>
          </p:spPr>
        </p:pic>
      </p:grpSp>
      <p:sp>
        <p:nvSpPr>
          <p:cNvPr id="3" name="Textfeld 10">
            <a:extLst>
              <a:ext uri="{FF2B5EF4-FFF2-40B4-BE49-F238E27FC236}">
                <a16:creationId xmlns:a16="http://schemas.microsoft.com/office/drawing/2014/main" id="{DDEFEBF3-C095-C1EF-10BB-AD9A49DFCBDA}"/>
              </a:ext>
            </a:extLst>
          </p:cNvPr>
          <p:cNvSpPr txBox="1"/>
          <p:nvPr/>
        </p:nvSpPr>
        <p:spPr>
          <a:xfrm>
            <a:off x="277200" y="6252009"/>
            <a:ext cx="84096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</a:t>
            </a:r>
            <a:r>
              <a:rPr lang="en-US" sz="800" dirty="0">
                <a:latin typeface="+mj-lt"/>
                <a:cs typeface="Arial" pitchFamily="34" charset="0"/>
              </a:rPr>
              <a:t>: Marta </a:t>
            </a:r>
            <a:r>
              <a:rPr lang="en-US" sz="800" noProof="0" dirty="0">
                <a:latin typeface="+mj-lt"/>
                <a:cs typeface="Arial" pitchFamily="34" charset="0"/>
              </a:rPr>
              <a:t>et al., “</a:t>
            </a:r>
            <a:r>
              <a:rPr lang="en-US" sz="800" noProof="0" dirty="0" err="1">
                <a:latin typeface="+mj-lt"/>
                <a:cs typeface="Arial" pitchFamily="34" charset="0"/>
              </a:rPr>
              <a:t>FLoRA</a:t>
            </a:r>
            <a:r>
              <a:rPr lang="en-US" sz="800" noProof="0" dirty="0">
                <a:latin typeface="+mj-lt"/>
                <a:cs typeface="Arial" pitchFamily="34" charset="0"/>
              </a:rPr>
              <a:t>: Sample-Efficient Preference-based RL via Low-Rank Style Adaptation of Reward Functions”, (2025)</a:t>
            </a:r>
          </a:p>
          <a:p>
            <a:endParaRPr lang="en-US" sz="800" noProof="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716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18E78-2FFF-B808-79EE-BD8B6B64E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se Study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8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562" y="1038609"/>
            <a:ext cx="4508877" cy="53703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5002E63-F94A-D9E7-1BD1-00ECDFE608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53076" y="3107576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ADR</a:t>
            </a:r>
          </a:p>
        </p:txBody>
      </p:sp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E6BF2-10C1-5992-6789-7D1631DBC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L is data hungry, but Robotic Data is expensiv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4DEAD-C4F4-06D5-0A5F-262F4773B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706B6E-6B12-0E9E-4E71-ED1C9052B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E04A135-6360-324B-6176-C87658061B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651F3D9-AE49-387A-D2A3-9FA517B85B77}"/>
              </a:ext>
            </a:extLst>
          </p:cNvPr>
          <p:cNvGrpSpPr/>
          <p:nvPr/>
        </p:nvGrpSpPr>
        <p:grpSpPr>
          <a:xfrm>
            <a:off x="171322" y="2042351"/>
            <a:ext cx="2954956" cy="3244330"/>
            <a:chOff x="171322" y="2225226"/>
            <a:chExt cx="2954956" cy="3244330"/>
          </a:xfrm>
        </p:grpSpPr>
        <p:pic>
          <p:nvPicPr>
            <p:cNvPr id="1026" name="Picture 2" descr="Generiertes Bild">
              <a:extLst>
                <a:ext uri="{FF2B5EF4-FFF2-40B4-BE49-F238E27FC236}">
                  <a16:creationId xmlns:a16="http://schemas.microsoft.com/office/drawing/2014/main" id="{ADB8ED71-8544-8FB3-408E-AE1F297EF8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57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2344549-B448-5696-2879-78546BCF19C1}"/>
                </a:ext>
              </a:extLst>
            </p:cNvPr>
            <p:cNvSpPr txBox="1"/>
            <p:nvPr/>
          </p:nvSpPr>
          <p:spPr>
            <a:xfrm>
              <a:off x="1713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Robot Cos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659F7D-354E-CC8A-70E1-8E1678C29E25}"/>
              </a:ext>
            </a:extLst>
          </p:cNvPr>
          <p:cNvGrpSpPr/>
          <p:nvPr/>
        </p:nvGrpSpPr>
        <p:grpSpPr>
          <a:xfrm>
            <a:off x="3475522" y="2042351"/>
            <a:ext cx="2954956" cy="3244330"/>
            <a:chOff x="3475522" y="2225226"/>
            <a:chExt cx="2954956" cy="3244330"/>
          </a:xfrm>
        </p:grpSpPr>
        <p:pic>
          <p:nvPicPr>
            <p:cNvPr id="1028" name="Picture 4" descr="Generiertes Bild">
              <a:extLst>
                <a:ext uri="{FF2B5EF4-FFF2-40B4-BE49-F238E27FC236}">
                  <a16:creationId xmlns:a16="http://schemas.microsoft.com/office/drawing/2014/main" id="{EED3ACFE-7933-9499-0AF6-4523087A59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8" t="3927"/>
            <a:stretch>
              <a:fillRect/>
            </a:stretch>
          </p:blipFill>
          <p:spPr bwMode="auto">
            <a:xfrm>
              <a:off x="3669960" y="2834078"/>
              <a:ext cx="2654640" cy="26354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860A450-9897-97DB-7850-4A9FF57FADCB}"/>
                </a:ext>
              </a:extLst>
            </p:cNvPr>
            <p:cNvSpPr txBox="1"/>
            <p:nvPr/>
          </p:nvSpPr>
          <p:spPr>
            <a:xfrm>
              <a:off x="34755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Securit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7D4FE3-F779-59B6-D3A1-2E363A108081}"/>
              </a:ext>
            </a:extLst>
          </p:cNvPr>
          <p:cNvGrpSpPr/>
          <p:nvPr/>
        </p:nvGrpSpPr>
        <p:grpSpPr>
          <a:xfrm>
            <a:off x="6762922" y="2042351"/>
            <a:ext cx="2954956" cy="3244330"/>
            <a:chOff x="6762922" y="2225226"/>
            <a:chExt cx="2954956" cy="3244330"/>
          </a:xfrm>
        </p:grpSpPr>
        <p:pic>
          <p:nvPicPr>
            <p:cNvPr id="1030" name="Picture 6" descr="Generiertes Bild">
              <a:extLst>
                <a:ext uri="{FF2B5EF4-FFF2-40B4-BE49-F238E27FC236}">
                  <a16:creationId xmlns:a16="http://schemas.microsoft.com/office/drawing/2014/main" id="{4A0F7D65-C29B-E557-4B89-9E78A32B91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800" y="2726356"/>
              <a:ext cx="2743200" cy="2743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7A84BD-7E9E-A0CC-F1F0-BD50B7B401A1}"/>
                </a:ext>
              </a:extLst>
            </p:cNvPr>
            <p:cNvSpPr txBox="1"/>
            <p:nvPr/>
          </p:nvSpPr>
          <p:spPr>
            <a:xfrm>
              <a:off x="6762922" y="2225226"/>
              <a:ext cx="2954956" cy="402291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pPr algn="ctr"/>
              <a:r>
                <a:rPr lang="en-US" sz="2000" noProof="0" dirty="0">
                  <a:latin typeface="+mj-lt"/>
                  <a:cs typeface="Arial" pitchFamily="34" charset="0"/>
                </a:rPr>
                <a:t>Labeling</a:t>
              </a:r>
            </a:p>
          </p:txBody>
        </p:sp>
      </p:grpSp>
      <p:sp>
        <p:nvSpPr>
          <p:cNvPr id="14" name="Line 3">
            <a:extLst>
              <a:ext uri="{FF2B5EF4-FFF2-40B4-BE49-F238E27FC236}">
                <a16:creationId xmlns:a16="http://schemas.microsoft.com/office/drawing/2014/main" id="{17F4D432-7D86-5740-70DF-7B51B7181E4F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3009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15" name="Line 3">
            <a:extLst>
              <a:ext uri="{FF2B5EF4-FFF2-40B4-BE49-F238E27FC236}">
                <a16:creationId xmlns:a16="http://schemas.microsoft.com/office/drawing/2014/main" id="{90656D9A-9293-5EA7-EF98-0704C95C7DF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596700" y="1497616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420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29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5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51" name="Objec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0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31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32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EAAB8-70A5-3215-A835-5A025B1C6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The Use of a Simulation leads to The Edge Case Proble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28DA7-5428-A738-0E51-5292CF5CE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A16AEE-8956-9C28-16D9-612775941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01F981-A11B-2CCE-8D1E-E25979725D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4129F1-7FC8-870D-6F4F-957D8A31A46A}"/>
              </a:ext>
            </a:extLst>
          </p:cNvPr>
          <p:cNvGrpSpPr/>
          <p:nvPr/>
        </p:nvGrpSpPr>
        <p:grpSpPr>
          <a:xfrm>
            <a:off x="277200" y="2439328"/>
            <a:ext cx="3389697" cy="2135683"/>
            <a:chOff x="277200" y="2262272"/>
            <a:chExt cx="3389697" cy="2135683"/>
          </a:xfrm>
        </p:grpSpPr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98E78538-61E1-143E-22DE-28AAE57D23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" y="2262272"/>
              <a:ext cx="3106637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A92F2E4-86BB-D3BB-4660-94473F8E36E2}"/>
                </a:ext>
              </a:extLst>
            </p:cNvPr>
            <p:cNvSpPr txBox="1"/>
            <p:nvPr/>
          </p:nvSpPr>
          <p:spPr>
            <a:xfrm>
              <a:off x="277200" y="4182511"/>
              <a:ext cx="338969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x.com</a:t>
              </a:r>
              <a:r>
                <a:rPr lang="en-US" sz="800" noProof="0" dirty="0">
                  <a:latin typeface="+mj-lt"/>
                </a:rPr>
                <a:t>/</a:t>
              </a:r>
              <a:r>
                <a:rPr lang="en-US" sz="800" noProof="0" dirty="0" err="1">
                  <a:latin typeface="+mj-lt"/>
                </a:rPr>
                <a:t>hfxtraffic</a:t>
              </a:r>
              <a:r>
                <a:rPr lang="en-US" sz="800" noProof="0" dirty="0">
                  <a:latin typeface="+mj-lt"/>
                </a:rPr>
                <a:t>/status/1799443590868779498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F463F61-8FC1-2C2D-DDAC-6114039734BA}"/>
              </a:ext>
            </a:extLst>
          </p:cNvPr>
          <p:cNvGrpSpPr/>
          <p:nvPr/>
        </p:nvGrpSpPr>
        <p:grpSpPr>
          <a:xfrm>
            <a:off x="3663788" y="1809882"/>
            <a:ext cx="2292016" cy="3394575"/>
            <a:chOff x="3663788" y="1694382"/>
            <a:chExt cx="2292016" cy="3394575"/>
          </a:xfrm>
        </p:grpSpPr>
        <p:pic>
          <p:nvPicPr>
            <p:cNvPr id="2056" name="Picture 8" descr="Interchange (road) - Wikipedia">
              <a:extLst>
                <a:ext uri="{FF2B5EF4-FFF2-40B4-BE49-F238E27FC236}">
                  <a16:creationId xmlns:a16="http://schemas.microsoft.com/office/drawing/2014/main" id="{DF282176-66B0-A27B-9663-832EFDCF65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3788" y="1694382"/>
              <a:ext cx="2292016" cy="3056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25022E-9C32-8B41-DC20-A91552700776}"/>
                </a:ext>
              </a:extLst>
            </p:cNvPr>
            <p:cNvSpPr txBox="1"/>
            <p:nvPr/>
          </p:nvSpPr>
          <p:spPr>
            <a:xfrm>
              <a:off x="3663788" y="4750403"/>
              <a:ext cx="229201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s://</a:t>
              </a:r>
              <a:r>
                <a:rPr lang="en-US" sz="800" noProof="0" dirty="0" err="1">
                  <a:latin typeface="+mj-lt"/>
                </a:rPr>
                <a:t>en.wikipedia.org</a:t>
              </a:r>
              <a:r>
                <a:rPr lang="en-US" sz="800" noProof="0" dirty="0">
                  <a:latin typeface="+mj-lt"/>
                </a:rPr>
                <a:t>/wiki/Interchange_%28road%29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A13787-6363-3170-40C1-4755E194629B}"/>
              </a:ext>
            </a:extLst>
          </p:cNvPr>
          <p:cNvGrpSpPr/>
          <p:nvPr/>
        </p:nvGrpSpPr>
        <p:grpSpPr>
          <a:xfrm>
            <a:off x="6235754" y="2377773"/>
            <a:ext cx="3393046" cy="2258793"/>
            <a:chOff x="6235754" y="2262272"/>
            <a:chExt cx="3393046" cy="2258793"/>
          </a:xfrm>
        </p:grpSpPr>
        <p:pic>
          <p:nvPicPr>
            <p:cNvPr id="2050" name="Picture 2" descr="White Wolf : Genius Elephant Stops Traffic So Little Calf Can Safely Cross  (Video)">
              <a:extLst>
                <a:ext uri="{FF2B5EF4-FFF2-40B4-BE49-F238E27FC236}">
                  <a16:creationId xmlns:a16="http://schemas.microsoft.com/office/drawing/2014/main" id="{E6BDF853-7B64-020E-2526-049B93ADD4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5754" y="2262272"/>
              <a:ext cx="3376246" cy="192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D7B3D0-E857-80AF-0A0C-BE329BB6F2A3}"/>
                </a:ext>
              </a:extLst>
            </p:cNvPr>
            <p:cNvSpPr txBox="1"/>
            <p:nvPr/>
          </p:nvSpPr>
          <p:spPr>
            <a:xfrm>
              <a:off x="6252554" y="4182511"/>
              <a:ext cx="337624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noProof="0" dirty="0">
                  <a:latin typeface="+mj-lt"/>
                </a:rPr>
                <a:t>http://</a:t>
              </a:r>
              <a:r>
                <a:rPr lang="en-US" sz="800" noProof="0" dirty="0" err="1">
                  <a:latin typeface="+mj-lt"/>
                </a:rPr>
                <a:t>www.whitewolfpack.com</a:t>
              </a:r>
              <a:r>
                <a:rPr lang="en-US" sz="800" noProof="0" dirty="0">
                  <a:latin typeface="+mj-lt"/>
                </a:rPr>
                <a:t>/2015/04/genius-elephant-stops-traffic-so-</a:t>
              </a:r>
              <a:r>
                <a:rPr lang="en-US" sz="800" noProof="0" dirty="0" err="1">
                  <a:latin typeface="+mj-lt"/>
                </a:rPr>
                <a:t>little.html</a:t>
              </a:r>
              <a:endParaRPr lang="en-US" sz="800" noProof="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0117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noProof="0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en-US" sz="2400" b="0" i="1" noProof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en-US" sz="2400" b="0" i="1" noProof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noProof="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easuring the sim-to-real gap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B97A54-B460-FDE7-7B34-A628D0ED8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470586"/>
            <a:ext cx="7772400" cy="4605660"/>
          </a:xfrm>
          <a:prstGeom prst="rect">
            <a:avLst/>
          </a:prstGeom>
        </p:spPr>
      </p:pic>
      <p:sp>
        <p:nvSpPr>
          <p:cNvPr id="14" name="Textfeld 9">
            <a:extLst>
              <a:ext uri="{FF2B5EF4-FFF2-40B4-BE49-F238E27FC236}">
                <a16:creationId xmlns:a16="http://schemas.microsoft.com/office/drawing/2014/main" id="{DAA67D18-E6AB-C8A9-665A-3F335991C577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Mulero et al., “</a:t>
            </a:r>
            <a:r>
              <a:rPr lang="en-US" sz="800" dirty="0">
                <a:latin typeface="+mj-lt"/>
                <a:cs typeface="Arial" pitchFamily="34" charset="0"/>
              </a:rPr>
              <a:t>Benchmarking the Sim-to-Real Gap in Cloth Manipulation</a:t>
            </a:r>
            <a:r>
              <a:rPr lang="en-US" sz="800" noProof="0" dirty="0">
                <a:latin typeface="+mj-lt"/>
                <a:cs typeface="Arial" pitchFamily="34" charset="0"/>
              </a:rPr>
              <a:t>”, IEEE, 2981-2988 (2024)</a:t>
            </a:r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101" y="594000"/>
            <a:ext cx="9334800" cy="716400"/>
          </a:xfrm>
        </p:spPr>
        <p:txBody>
          <a:bodyPr/>
          <a:lstStyle/>
          <a:p>
            <a:r>
              <a:rPr lang="en-US" dirty="0"/>
              <a:t>Attention to impossible or difficult measurements in reality.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49ACE3-2A3E-B24B-AF2B-1FFCC4320345}"/>
              </a:ext>
            </a:extLst>
          </p:cNvPr>
          <p:cNvGrpSpPr/>
          <p:nvPr/>
        </p:nvGrpSpPr>
        <p:grpSpPr>
          <a:xfrm>
            <a:off x="234101" y="3705120"/>
            <a:ext cx="9334800" cy="2382610"/>
            <a:chOff x="234101" y="3537456"/>
            <a:chExt cx="9334800" cy="2382610"/>
          </a:xfrm>
        </p:grpSpPr>
        <p:pic>
          <p:nvPicPr>
            <p:cNvPr id="2050" name="Picture 2" descr="Generiertes Bild">
              <a:extLst>
                <a:ext uri="{FF2B5EF4-FFF2-40B4-BE49-F238E27FC236}">
                  <a16:creationId xmlns:a16="http://schemas.microsoft.com/office/drawing/2014/main" id="{01A4E5C1-A3F3-3DE0-767F-58452F9BC4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6291" y="3537456"/>
              <a:ext cx="2382610" cy="23826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6F35509-11A0-D35D-8F60-F64F88E3691F}"/>
                </a:ext>
              </a:extLst>
            </p:cNvPr>
            <p:cNvSpPr txBox="1"/>
            <p:nvPr/>
          </p:nvSpPr>
          <p:spPr>
            <a:xfrm>
              <a:off x="234101" y="4065951"/>
              <a:ext cx="5369865" cy="132562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1600" noProof="0" dirty="0">
                  <a:latin typeface="+mj-lt"/>
                  <a:cs typeface="Arial" pitchFamily="34" charset="0"/>
                </a:rPr>
                <a:t>„Note that we do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not include all available sensor measurements 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in the observation space. For example, the IMU also provides the yaw of the base. We </a:t>
              </a:r>
              <a:r>
                <a:rPr lang="en-US" sz="2000" noProof="0" dirty="0">
                  <a:solidFill>
                    <a:schemeClr val="accent4"/>
                  </a:solidFill>
                  <a:latin typeface="+mj-lt"/>
                  <a:cs typeface="Arial" pitchFamily="34" charset="0"/>
                </a:rPr>
                <a:t>exclude it because the measurement drifts quickly</a:t>
              </a:r>
              <a:r>
                <a:rPr lang="en-US" sz="1600" noProof="0" dirty="0">
                  <a:latin typeface="+mj-lt"/>
                  <a:cs typeface="Arial" pitchFamily="34" charset="0"/>
                </a:rPr>
                <a:t>.“</a:t>
              </a:r>
            </a:p>
          </p:txBody>
        </p:sp>
      </p:grpSp>
      <p:sp>
        <p:nvSpPr>
          <p:cNvPr id="9" name="Textfeld 9">
            <a:extLst>
              <a:ext uri="{FF2B5EF4-FFF2-40B4-BE49-F238E27FC236}">
                <a16:creationId xmlns:a16="http://schemas.microsoft.com/office/drawing/2014/main" id="{93020646-89CF-A826-9A0C-58869CCCE27F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an et al., “Sim-to-real: Learning agile locomotion for quadruped robots”,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 preprint </a:t>
            </a:r>
            <a:r>
              <a:rPr lang="en-US" sz="800" noProof="0" dirty="0" err="1">
                <a:latin typeface="+mj-lt"/>
                <a:cs typeface="Arial" pitchFamily="34" charset="0"/>
              </a:rPr>
              <a:t>arXiv</a:t>
            </a:r>
            <a:r>
              <a:rPr lang="en-US" sz="800" noProof="0" dirty="0">
                <a:latin typeface="+mj-lt"/>
                <a:cs typeface="Arial" pitchFamily="34" charset="0"/>
              </a:rPr>
              <a:t>: 1804.10332 (2018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C439AB-C212-C88D-0FAF-87DCB02DB5D0}"/>
              </a:ext>
            </a:extLst>
          </p:cNvPr>
          <p:cNvGrpSpPr/>
          <p:nvPr/>
        </p:nvGrpSpPr>
        <p:grpSpPr>
          <a:xfrm>
            <a:off x="234101" y="1459101"/>
            <a:ext cx="9334800" cy="2097318"/>
            <a:chOff x="234101" y="1626765"/>
            <a:chExt cx="9334800" cy="209731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ACB2EF1-E60A-6924-BB1A-104F1584D7DF}"/>
                </a:ext>
              </a:extLst>
            </p:cNvPr>
            <p:cNvGrpSpPr/>
            <p:nvPr/>
          </p:nvGrpSpPr>
          <p:grpSpPr>
            <a:xfrm>
              <a:off x="5282944" y="2165973"/>
              <a:ext cx="4285957" cy="1018903"/>
              <a:chOff x="234101" y="2049534"/>
              <a:chExt cx="4285957" cy="1018903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8D9EBFED-FCAD-2D11-9A11-0F3462A9B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34101" y="2049534"/>
                <a:ext cx="4285957" cy="981049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9A5A349E-C797-A499-74A8-7EB939D11AFD}"/>
                  </a:ext>
                </a:extLst>
              </p:cNvPr>
              <p:cNvSpPr/>
              <p:nvPr/>
            </p:nvSpPr>
            <p:spPr>
              <a:xfrm>
                <a:off x="2944521" y="2591178"/>
                <a:ext cx="977153" cy="477259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sz="1200" dirty="0">
                  <a:latin typeface="+mn-lt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E3A2144-DA36-B536-0940-6A2C4D0EC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101" y="1626765"/>
              <a:ext cx="3584573" cy="20973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noProof="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noProof="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noProof="0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noProof="0" dirty="0">
                  <a:latin typeface="+mj-lt"/>
                  <a:cs typeface="Arial" pitchFamily="34" charset="0"/>
                </a:rPr>
                <a:t>Source: GitHub, 2025, https:/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github.com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google-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deepmind</a:t>
              </a:r>
              <a:r>
                <a:rPr lang="en-US" sz="800" noProof="0" dirty="0">
                  <a:latin typeface="+mj-lt"/>
                  <a:cs typeface="Arial" pitchFamily="34" charset="0"/>
                </a:rPr>
                <a:t>/</a:t>
              </a:r>
              <a:r>
                <a:rPr lang="en-US" sz="800" noProof="0" dirty="0" err="1">
                  <a:latin typeface="+mj-lt"/>
                  <a:cs typeface="Arial" pitchFamily="34" charset="0"/>
                </a:rPr>
                <a:t>mujoco</a:t>
              </a:r>
              <a:endParaRPr lang="en-US" sz="800" noProof="0" dirty="0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noProof="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noProof="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130696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noProof="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4797</TotalTime>
  <Words>4793</Words>
  <Application>Microsoft Macintosh PowerPoint</Application>
  <PresentationFormat>A4 Paper (210x297 mm)</PresentationFormat>
  <Paragraphs>681</Paragraphs>
  <Slides>33</Slides>
  <Notes>28</Notes>
  <HiddenSlides>5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Arial</vt:lpstr>
      <vt:lpstr>Book Antiqua</vt:lpstr>
      <vt:lpstr>Calibri</vt:lpstr>
      <vt:lpstr>Cambria Math</vt:lpstr>
      <vt:lpstr>LinLibertineTB</vt:lpstr>
      <vt:lpstr>Wingdings</vt:lpstr>
      <vt:lpstr>IMCA-TEMP</vt:lpstr>
      <vt:lpstr>think-cell Folie</vt:lpstr>
      <vt:lpstr>Chart</vt:lpstr>
      <vt:lpstr>Diagramm</vt:lpstr>
      <vt:lpstr>PowerPoint Presentation</vt:lpstr>
      <vt:lpstr>Titel  - Inhalt -</vt:lpstr>
      <vt:lpstr>DL is data hungry, but Robotic Data is expensive.</vt:lpstr>
      <vt:lpstr>The Use of a Simulation leads to The Edge Case Problem.</vt:lpstr>
      <vt:lpstr>The overview of Sim-to-Real issue causes.</vt:lpstr>
      <vt:lpstr>Measuring the sim-to-real gap.</vt:lpstr>
      <vt:lpstr>Attention to impossible or difficult measurements in reality.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Action-Level Transfer</vt:lpstr>
      <vt:lpstr>Evaluation</vt:lpstr>
      <vt:lpstr>Grounded Action Transformation</vt:lpstr>
      <vt:lpstr>Grounded Action Transformation</vt:lpstr>
      <vt:lpstr>Robust Policy Design</vt:lpstr>
      <vt:lpstr>System Identification (SysID)</vt:lpstr>
      <vt:lpstr>Simulation Optimization</vt:lpstr>
      <vt:lpstr>Evaluation</vt:lpstr>
      <vt:lpstr>Learned Reward Functions</vt:lpstr>
      <vt:lpstr>Inverse Reinforcement Learning</vt:lpstr>
      <vt:lpstr>Adversarial IRL</vt:lpstr>
      <vt:lpstr>Preference-based RL (PbRL) is used to determine an unknown reward function.</vt:lpstr>
      <vt:lpstr>Preference-based RL can imitate the perfect reward function with just a few interactions.</vt:lpstr>
      <vt:lpstr>… even in real Applications.</vt:lpstr>
      <vt:lpstr>PbRL adjusts the reward in detail and precisely.</vt:lpstr>
      <vt:lpstr>Case Study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12</cp:revision>
  <cp:lastPrinted>2017-11-09T17:13:23Z</cp:lastPrinted>
  <dcterms:created xsi:type="dcterms:W3CDTF">2025-05-27T06:47:37Z</dcterms:created>
  <dcterms:modified xsi:type="dcterms:W3CDTF">2025-06-03T08:1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